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77" r:id="rId2"/>
  </p:sldMasterIdLst>
  <p:notesMasterIdLst>
    <p:notesMasterId r:id="rId8"/>
  </p:notesMasterIdLst>
  <p:sldIdLst>
    <p:sldId id="838840814" r:id="rId3"/>
    <p:sldId id="838840810" r:id="rId4"/>
    <p:sldId id="838840815" r:id="rId5"/>
    <p:sldId id="838840818" r:id="rId6"/>
    <p:sldId id="838840813" r:id="rId7"/>
  </p:sldIdLst>
  <p:sldSz cx="12192000" cy="6858000"/>
  <p:notesSz cx="6858000" cy="9144000"/>
  <p:custDataLst>
    <p:tags r:id="rId9"/>
  </p:custDataLst>
  <p:defaultTextStyle>
    <a:defPPr>
      <a:defRPr lang="en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45"/>
    <p:restoredTop sz="94694"/>
  </p:normalViewPr>
  <p:slideViewPr>
    <p:cSldViewPr snapToGrid="0">
      <p:cViewPr varScale="1">
        <p:scale>
          <a:sx n="121" d="100"/>
          <a:sy n="121" d="100"/>
        </p:scale>
        <p:origin x="576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B7DA4C-EC1C-B745-BAAD-57171FA84435}" type="datetimeFigureOut">
              <a:rPr lang="da-DK" smtClean="0"/>
              <a:t>21.03.2023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C3B156-2DAC-8F4F-87CB-E58D25F40AA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669579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29765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71317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50290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1336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2663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.png"/><Relationship Id="rId4" Type="http://schemas.openxmlformats.org/officeDocument/2006/relationships/image" Target="../media/image34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6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3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oleObject" Target="../embeddings/oleObject19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.png"/><Relationship Id="rId4" Type="http://schemas.openxmlformats.org/officeDocument/2006/relationships/image" Target="../media/image34.pn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.png"/><Relationship Id="rId4" Type="http://schemas.openxmlformats.org/officeDocument/2006/relationships/image" Target="../media/image34.pn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36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oleObject" Target="../embeddings/oleObject6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6.bin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.png"/><Relationship Id="rId4" Type="http://schemas.openxmlformats.org/officeDocument/2006/relationships/image" Target="../media/image34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) Forside - Intro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934" y="1927328"/>
            <a:ext cx="1894132" cy="1877822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2884CE6-2E01-4949-BAD6-196A401BB8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5506051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tit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D9EFE38-74B0-2C43-8B3B-DBBFECFD8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4688490"/>
            <a:ext cx="10363200" cy="817561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150EF21-A222-474E-9F0D-36BD39F2EB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4243457"/>
            <a:ext cx="10369550" cy="417513"/>
          </a:xfrm>
        </p:spPr>
        <p:txBody>
          <a:bodyPr/>
          <a:lstStyle>
            <a:lvl1pPr marL="0" indent="0" algn="ctr">
              <a:buNone/>
              <a:defRPr sz="3600" spc="300">
                <a:solidFill>
                  <a:srgbClr val="FEC315"/>
                </a:solidFill>
                <a:latin typeface="Manus" pitchFamily="2" charset="77"/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  <a:lvl4pPr marL="1371635" indent="0">
              <a:buNone/>
              <a:defRPr/>
            </a:lvl4pPr>
            <a:lvl5pPr marL="1828847" indent="0">
              <a:buNone/>
              <a:defRPr/>
            </a:lvl5pPr>
          </a:lstStyle>
          <a:p>
            <a:pPr lvl="0"/>
            <a:r>
              <a:rPr lang="da-DK"/>
              <a:t>Klik for at redigere dato</a:t>
            </a:r>
          </a:p>
        </p:txBody>
      </p:sp>
    </p:spTree>
    <p:extLst>
      <p:ext uri="{BB962C8B-B14F-4D97-AF65-F5344CB8AC3E}">
        <p14:creationId xmlns:p14="http://schemas.microsoft.com/office/powerpoint/2010/main" val="47215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7) Indhold - T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399" y="173672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914399" y="458975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914399" y="499380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B17A48F-D994-4545-B295-8EE8A5B2135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037600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9" name="Pladsholder til tekst 3">
            <a:extLst>
              <a:ext uri="{FF2B5EF4-FFF2-40B4-BE49-F238E27FC236}">
                <a16:creationId xmlns:a16="http://schemas.microsoft.com/office/drawing/2014/main" id="{3CD64D60-5E84-7243-BF34-2F21889536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37600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0" name="Pladsholder til tekst 3">
            <a:extLst>
              <a:ext uri="{FF2B5EF4-FFF2-40B4-BE49-F238E27FC236}">
                <a16:creationId xmlns:a16="http://schemas.microsoft.com/office/drawing/2014/main" id="{F8FD379B-FB93-9441-B85B-2A8E307B6C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37600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475999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75999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75999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330408561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D:\Opgaver\EDC Marts 2020\Powerpointskabelon\billeder\ppt_billede_familie_paa_fremvisnin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200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7089782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0242468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9744862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9865411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7239486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6217349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95443421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8870332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3174"/>
            <a:ext cx="12185335" cy="6854250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36524950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4" y="3174"/>
            <a:ext cx="12185333" cy="6854250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104446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8) Indhold - Fi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0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914400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FDD04CEF-7D9C-8948-BB80-84CBD6883B2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36415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3" name="Pladsholder til tekst 3">
            <a:extLst>
              <a:ext uri="{FF2B5EF4-FFF2-40B4-BE49-F238E27FC236}">
                <a16:creationId xmlns:a16="http://schemas.microsoft.com/office/drawing/2014/main" id="{5A670000-BB61-BA43-9264-CF80E8D587F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36415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4" name="Pladsholder til tekst 3">
            <a:extLst>
              <a:ext uri="{FF2B5EF4-FFF2-40B4-BE49-F238E27FC236}">
                <a16:creationId xmlns:a16="http://schemas.microsoft.com/office/drawing/2014/main" id="{510D0D61-2A94-C641-AF7F-1939034B0E4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36415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1EEF1836-630A-ED4C-AA72-492EBBF1F1D4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158429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6" name="Pladsholder til tekst 3">
            <a:extLst>
              <a:ext uri="{FF2B5EF4-FFF2-40B4-BE49-F238E27FC236}">
                <a16:creationId xmlns:a16="http://schemas.microsoft.com/office/drawing/2014/main" id="{60A7BF55-D661-1B49-A75A-2AFEC993EB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58429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7" name="Pladsholder til tekst 3">
            <a:extLst>
              <a:ext uri="{FF2B5EF4-FFF2-40B4-BE49-F238E27FC236}">
                <a16:creationId xmlns:a16="http://schemas.microsoft.com/office/drawing/2014/main" id="{A7183FB7-2D78-0549-8399-95B2098D9D6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58429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C3DE3EA4-C122-6240-AC72-734A6ED03D18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780444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9" name="Pladsholder til tekst 3">
            <a:extLst>
              <a:ext uri="{FF2B5EF4-FFF2-40B4-BE49-F238E27FC236}">
                <a16:creationId xmlns:a16="http://schemas.microsoft.com/office/drawing/2014/main" id="{4FA0CD1F-D261-4842-9F8D-2C88F5579B0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80444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40" name="Pladsholder til tekst 3">
            <a:extLst>
              <a:ext uri="{FF2B5EF4-FFF2-40B4-BE49-F238E27FC236}">
                <a16:creationId xmlns:a16="http://schemas.microsoft.com/office/drawing/2014/main" id="{BB55047B-EB92-F94B-92A8-D91C9C2BCC1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80444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48478800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4" y="3175"/>
            <a:ext cx="12185333" cy="6854249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3710313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Umage_1_video_1920x1080_7-3" descr="Umage_1_video_1920x1080_7-3">
            <a:hlinkClick r:id="" action="ppaction://media"/>
            <a:extLst>
              <a:ext uri="{FF2B5EF4-FFF2-40B4-BE49-F238E27FC236}">
                <a16:creationId xmlns:a16="http://schemas.microsoft.com/office/drawing/2014/main" id="{7DC1A101-C4D9-A546-96D4-D7FAD68CA96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4048" y="1"/>
            <a:ext cx="12196048" cy="6871013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46924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Umage_1_video_1920x1080_7-4" descr="Umage_1_video_1920x1080_7-4">
            <a:hlinkClick r:id="" action="ppaction://media"/>
            <a:extLst>
              <a:ext uri="{FF2B5EF4-FFF2-40B4-BE49-F238E27FC236}">
                <a16:creationId xmlns:a16="http://schemas.microsoft.com/office/drawing/2014/main" id="{E5C58D9B-5A43-B947-A80D-165D5224DA9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297"/>
            <a:ext cx="12192000" cy="6868732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381274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2594777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vert="horz" anchor="ctr" anchorCtr="0"/>
          <a:lstStyle>
            <a:lvl1pPr algn="r">
              <a:defRPr sz="900">
                <a:solidFill>
                  <a:srgbClr val="004454"/>
                </a:solidFill>
                <a:latin typeface="+mn-lt"/>
              </a:defRPr>
            </a:lvl1pPr>
          </a:lstStyle>
          <a:p>
            <a:fld id="{892EE196-DDA1-41FD-83E0-096904DE06E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3522403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0563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a-DK" sz="3100" b="1" i="0" baseline="0">
              <a:latin typeface="Arial" panose="020B0604020202020204" pitchFamily="34" charset="0"/>
              <a:cs typeface="Open Sans Light" panose="020B060402020202020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1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" name="Rectangle 11"/>
          <p:cNvSpPr/>
          <p:nvPr userDrawn="1"/>
        </p:nvSpPr>
        <p:spPr>
          <a:xfrm>
            <a:off x="0" y="1736726"/>
            <a:ext cx="12192000" cy="4321174"/>
          </a:xfrm>
          <a:prstGeom prst="rect">
            <a:avLst/>
          </a:prstGeom>
          <a:solidFill>
            <a:srgbClr val="E5E5E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180997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KU 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 txBox="1">
            <a:spLocks noGrp="1"/>
          </p:cNvSpPr>
          <p:nvPr>
            <p:ph type="body" idx="4294967295"/>
          </p:nvPr>
        </p:nvSpPr>
        <p:spPr>
          <a:xfrm>
            <a:off x="914400" y="688580"/>
            <a:ext cx="10363196" cy="859846"/>
          </a:xfrm>
        </p:spPr>
        <p:txBody>
          <a:bodyPr/>
          <a:lstStyle>
            <a:lvl1pPr marL="0" indent="0">
              <a:buNone/>
              <a:defRPr sz="3000" b="1"/>
            </a:lvl1pPr>
          </a:lstStyle>
          <a:p>
            <a:pPr lvl="0"/>
            <a:r>
              <a:rPr lang="da-DK"/>
              <a:t>Klik for at redigere i overskrift</a:t>
            </a:r>
          </a:p>
        </p:txBody>
      </p:sp>
      <p:sp>
        <p:nvSpPr>
          <p:cNvPr id="3" name="Title Placeholder 1"/>
          <p:cNvSpPr txBox="1">
            <a:spLocks noGrp="1"/>
          </p:cNvSpPr>
          <p:nvPr>
            <p:ph type="title"/>
          </p:nvPr>
        </p:nvSpPr>
        <p:spPr>
          <a:xfrm>
            <a:off x="914400" y="456286"/>
            <a:ext cx="10363196" cy="211921"/>
          </a:xfrm>
        </p:spPr>
        <p:txBody>
          <a:bodyPr wrap="none" anchorCtr="0"/>
          <a:lstStyle>
            <a:lvl1pPr algn="l">
              <a:defRPr sz="1000" b="0"/>
            </a:lvl1pPr>
          </a:lstStyle>
          <a:p>
            <a:pPr lvl="0"/>
            <a:r>
              <a:rPr lang="da-DK"/>
              <a:t>Klik for at redigere i tracker</a:t>
            </a:r>
          </a:p>
        </p:txBody>
      </p:sp>
      <p:sp>
        <p:nvSpPr>
          <p:cNvPr id="4" name="Pladsholder til slidenummer 3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E530F1A-E148-45AD-9E51-893326BE722B}" type="slidenum">
              <a:t>‹nr.›</a:t>
            </a:fld>
            <a:endParaRPr lang="da-DK"/>
          </a:p>
        </p:txBody>
      </p:sp>
      <p:sp>
        <p:nvSpPr>
          <p:cNvPr id="5" name="Pladsholder til sidefod 2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Sidefod på alle sider</a:t>
            </a:r>
          </a:p>
        </p:txBody>
      </p:sp>
    </p:spTree>
    <p:extLst>
      <p:ext uri="{BB962C8B-B14F-4D97-AF65-F5344CB8AC3E}">
        <p14:creationId xmlns:p14="http://schemas.microsoft.com/office/powerpoint/2010/main" val="1009559319"/>
      </p:ext>
    </p:extLst>
  </p:cSld>
  <p:clrMapOvr>
    <a:masterClrMapping/>
  </p:clrMapOvr>
  <p:hf sldNum="0" hdr="0" ft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23" indent="0" algn="ctr">
              <a:buNone/>
              <a:defRPr/>
            </a:lvl2pPr>
            <a:lvl3pPr marL="914446" indent="0" algn="ctr">
              <a:buNone/>
              <a:defRPr/>
            </a:lvl3pPr>
            <a:lvl4pPr marL="1371669" indent="0" algn="ctr">
              <a:buNone/>
              <a:defRPr/>
            </a:lvl4pPr>
            <a:lvl5pPr marL="1828891" indent="0" algn="ctr">
              <a:buNone/>
              <a:defRPr/>
            </a:lvl5pPr>
            <a:lvl6pPr marL="2286114" indent="0" algn="ctr">
              <a:buNone/>
              <a:defRPr/>
            </a:lvl6pPr>
            <a:lvl7pPr marL="2743337" indent="0" algn="ctr">
              <a:buNone/>
              <a:defRPr/>
            </a:lvl7pPr>
            <a:lvl8pPr marL="3200560" indent="0" algn="ctr">
              <a:buNone/>
              <a:defRPr/>
            </a:lvl8pPr>
            <a:lvl9pPr marL="3657783" indent="0" algn="ctr">
              <a:buNone/>
              <a:defRPr/>
            </a:lvl9pPr>
          </a:lstStyle>
          <a:p>
            <a:r>
              <a:rPr lang="da-DK"/>
              <a:t>Klik for at redigere i master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284168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888B9F-7A58-40FC-94C6-DE17AC819CA0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196895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) Forside - Intro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934" y="1927328"/>
            <a:ext cx="1894132" cy="1877822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2884CE6-2E01-4949-BAD6-196A401BB8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5506051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tit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D9EFE38-74B0-2C43-8B3B-DBBFECFD8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4688490"/>
            <a:ext cx="10363200" cy="817561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150EF21-A222-474E-9F0D-36BD39F2EB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4243457"/>
            <a:ext cx="10369550" cy="417513"/>
          </a:xfrm>
        </p:spPr>
        <p:txBody>
          <a:bodyPr/>
          <a:lstStyle>
            <a:lvl1pPr marL="0" indent="0" algn="ctr">
              <a:buNone/>
              <a:defRPr sz="3600" spc="300">
                <a:solidFill>
                  <a:srgbClr val="FEC315"/>
                </a:solidFill>
                <a:latin typeface="Manus" pitchFamily="2" charset="77"/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  <a:lvl4pPr marL="1371635" indent="0">
              <a:buNone/>
              <a:defRPr/>
            </a:lvl4pPr>
            <a:lvl5pPr marL="1828847" indent="0">
              <a:buNone/>
              <a:defRPr/>
            </a:lvl5pPr>
          </a:lstStyle>
          <a:p>
            <a:pPr lvl="0"/>
            <a:r>
              <a:rPr lang="da-DK"/>
              <a:t>Klik for at redigere dato</a:t>
            </a:r>
          </a:p>
        </p:txBody>
      </p:sp>
    </p:spTree>
    <p:extLst>
      <p:ext uri="{BB962C8B-B14F-4D97-AF65-F5344CB8AC3E}">
        <p14:creationId xmlns:p14="http://schemas.microsoft.com/office/powerpoint/2010/main" val="14362164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7083483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mært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048D68E5-2222-BD40-9A9A-A1FFEB057981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Primært indhold</a:t>
            </a:r>
          </a:p>
        </p:txBody>
      </p:sp>
    </p:spTree>
    <p:extLst>
      <p:ext uri="{BB962C8B-B14F-4D97-AF65-F5344CB8AC3E}">
        <p14:creationId xmlns:p14="http://schemas.microsoft.com/office/powerpoint/2010/main" val="13969996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9) Indhold - venst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43717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0973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973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0530721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27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1036320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87773471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1193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53681834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) Indhold - Centreret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4534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3598548"/>
            <a:ext cx="10363200" cy="1579381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30708"/>
            <a:ext cx="10363200" cy="24184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99186796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) Indhold - Tekst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9062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493776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5" name="Pladsholder til tabel 4">
            <a:extLst>
              <a:ext uri="{FF2B5EF4-FFF2-40B4-BE49-F238E27FC236}">
                <a16:creationId xmlns:a16="http://schemas.microsoft.com/office/drawing/2014/main" id="{2EA14440-FD86-A745-9F55-041D16E11DC7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6096000" y="1736726"/>
            <a:ext cx="5181600" cy="4321175"/>
          </a:xfrm>
          <a:solidFill>
            <a:schemeClr val="bg2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0" tIns="360000" rIns="360000" bIns="36000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38682684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5) Indhold - Et emn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142082" y="477952"/>
            <a:ext cx="3907836" cy="3277515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5023692"/>
            <a:ext cx="10363200" cy="1024569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3830256"/>
            <a:ext cx="10363200" cy="104385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88094842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6) Indhold - To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2357608" y="173672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2357608" y="458975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2357608" y="499380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594392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594392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94392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130801952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7) Indhold - T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399" y="173672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914399" y="458975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914399" y="499380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B17A48F-D994-4545-B295-8EE8A5B2135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037600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9" name="Pladsholder til tekst 3">
            <a:extLst>
              <a:ext uri="{FF2B5EF4-FFF2-40B4-BE49-F238E27FC236}">
                <a16:creationId xmlns:a16="http://schemas.microsoft.com/office/drawing/2014/main" id="{3CD64D60-5E84-7243-BF34-2F21889536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37600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0" name="Pladsholder til tekst 3">
            <a:extLst>
              <a:ext uri="{FF2B5EF4-FFF2-40B4-BE49-F238E27FC236}">
                <a16:creationId xmlns:a16="http://schemas.microsoft.com/office/drawing/2014/main" id="{F8FD379B-FB93-9441-B85B-2A8E307B6C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37600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475999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75999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75999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217092071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8) Indhold - Fi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0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914400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FDD04CEF-7D9C-8948-BB80-84CBD6883B2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36415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3" name="Pladsholder til tekst 3">
            <a:extLst>
              <a:ext uri="{FF2B5EF4-FFF2-40B4-BE49-F238E27FC236}">
                <a16:creationId xmlns:a16="http://schemas.microsoft.com/office/drawing/2014/main" id="{5A670000-BB61-BA43-9264-CF80E8D587F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36415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4" name="Pladsholder til tekst 3">
            <a:extLst>
              <a:ext uri="{FF2B5EF4-FFF2-40B4-BE49-F238E27FC236}">
                <a16:creationId xmlns:a16="http://schemas.microsoft.com/office/drawing/2014/main" id="{510D0D61-2A94-C641-AF7F-1939034B0E4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36415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1EEF1836-630A-ED4C-AA72-492EBBF1F1D4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158429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6" name="Pladsholder til tekst 3">
            <a:extLst>
              <a:ext uri="{FF2B5EF4-FFF2-40B4-BE49-F238E27FC236}">
                <a16:creationId xmlns:a16="http://schemas.microsoft.com/office/drawing/2014/main" id="{60A7BF55-D661-1B49-A75A-2AFEC993EB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58429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7" name="Pladsholder til tekst 3">
            <a:extLst>
              <a:ext uri="{FF2B5EF4-FFF2-40B4-BE49-F238E27FC236}">
                <a16:creationId xmlns:a16="http://schemas.microsoft.com/office/drawing/2014/main" id="{A7183FB7-2D78-0549-8399-95B2098D9D6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58429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C3DE3EA4-C122-6240-AC72-734A6ED03D18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780444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9" name="Pladsholder til tekst 3">
            <a:extLst>
              <a:ext uri="{FF2B5EF4-FFF2-40B4-BE49-F238E27FC236}">
                <a16:creationId xmlns:a16="http://schemas.microsoft.com/office/drawing/2014/main" id="{4FA0CD1F-D261-4842-9F8D-2C88F5579B0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80444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40" name="Pladsholder til tekst 3">
            <a:extLst>
              <a:ext uri="{FF2B5EF4-FFF2-40B4-BE49-F238E27FC236}">
                <a16:creationId xmlns:a16="http://schemas.microsoft.com/office/drawing/2014/main" id="{BB55047B-EB92-F94B-92A8-D91C9C2BCC1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80444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364921144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9) Indhold - venst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43717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0973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973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403670534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0) Indhold - høj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626600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342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0342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9877263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0) Indhold - høj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626600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342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0342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19888231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1) Indhold - billedekollag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1" y="1831358"/>
            <a:ext cx="2796988" cy="400850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772861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631321" y="1831359"/>
            <a:ext cx="4646279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631321" y="3990572"/>
            <a:ext cx="4646279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779737" y="3992675"/>
            <a:ext cx="2796988" cy="18492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04F7A2D-1D60-924D-8691-343C17E54B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65172" y="4257910"/>
            <a:ext cx="2195929" cy="1380891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9048D62-3969-AF4F-9DFE-7CB99DD91E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EF939005-16F7-D242-90DC-BF9D655DFE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62781214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2) Indhold - billedekollage med 6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1831359"/>
            <a:ext cx="4646279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3611496" y="3990572"/>
            <a:ext cx="4794838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1831359"/>
            <a:ext cx="2822600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914400" y="3990572"/>
            <a:ext cx="2635624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8454999" y="3990572"/>
            <a:ext cx="2822600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E825661-551C-CB4A-BD64-F9F48E798F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2161DFB-9516-824E-931C-E348F1F9C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42952024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3) Indhold - billedekollage med 4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1831358"/>
            <a:ext cx="4646279" cy="400850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1831359"/>
            <a:ext cx="2822600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5609346" y="3990572"/>
            <a:ext cx="5668254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09ED05-355F-704F-8078-D8FBCB80CC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ADA6362-6032-7B48-806D-EE79E20F90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47965916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4) Indhold - venst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0800" y="2203444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0" y="467361"/>
            <a:ext cx="4876800" cy="15848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0800" y="2955926"/>
            <a:ext cx="4876800" cy="32010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7226904-5333-1643-A028-C32C08635B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7116"/>
            <a:ext cx="5450468" cy="667088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409406694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5) Indhold - høj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756400" y="183586"/>
            <a:ext cx="5435600" cy="667441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4560" y="2203444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4560" y="467361"/>
            <a:ext cx="4876800" cy="15848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560" y="2955926"/>
            <a:ext cx="4876800" cy="32010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144652738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6) Indhold - top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3587"/>
            <a:ext cx="12192000" cy="365074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74109B2-14F7-8C45-B436-1D932F43BA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20DAE04-02FA-FA4E-80B1-DEACAA8CA1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660E2045-251E-0C48-95E3-D254032436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4419600"/>
            <a:ext cx="9076800" cy="18389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411683138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7) Indhold -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gram 4">
            <a:extLst>
              <a:ext uri="{FF2B5EF4-FFF2-40B4-BE49-F238E27FC236}">
                <a16:creationId xmlns:a16="http://schemas.microsoft.com/office/drawing/2014/main" id="{649C4CD9-CD6F-334F-98E9-4820250EF86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t diagram</a:t>
            </a:r>
          </a:p>
        </p:txBody>
      </p:sp>
    </p:spTree>
    <p:extLst>
      <p:ext uri="{BB962C8B-B14F-4D97-AF65-F5344CB8AC3E}">
        <p14:creationId xmlns:p14="http://schemas.microsoft.com/office/powerpoint/2010/main" val="370389123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8) Indhold -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abel 5">
            <a:extLst>
              <a:ext uri="{FF2B5EF4-FFF2-40B4-BE49-F238E27FC236}">
                <a16:creationId xmlns:a16="http://schemas.microsoft.com/office/drawing/2014/main" id="{FAC4DF31-B3FA-AA43-969D-3B3268B15152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197059160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9) Indhold - 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119709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0) Indhold - Best prac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P-Animation" descr="BP-Animation">
            <a:hlinkClick r:id="" action="ppaction://media"/>
            <a:extLst>
              <a:ext uri="{FF2B5EF4-FFF2-40B4-BE49-F238E27FC236}">
                <a16:creationId xmlns:a16="http://schemas.microsoft.com/office/drawing/2014/main" id="{576F7D11-4E26-1B4C-A111-575C6B10466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30238"/>
          <a:stretch/>
        </p:blipFill>
        <p:spPr>
          <a:xfrm>
            <a:off x="3364255" y="184108"/>
            <a:ext cx="6319796" cy="3206422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2976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2179800" y="22496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736726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grpSp>
        <p:nvGrpSpPr>
          <p:cNvPr id="22" name="Gruppe 21">
            <a:extLst>
              <a:ext uri="{FF2B5EF4-FFF2-40B4-BE49-F238E27FC236}">
                <a16:creationId xmlns:a16="http://schemas.microsoft.com/office/drawing/2014/main" id="{E2741BB0-BC6E-D043-8C59-CE47B8FEEF7A}"/>
              </a:ext>
            </a:extLst>
          </p:cNvPr>
          <p:cNvGrpSpPr/>
          <p:nvPr userDrawn="1"/>
        </p:nvGrpSpPr>
        <p:grpSpPr>
          <a:xfrm>
            <a:off x="1308675" y="2156651"/>
            <a:ext cx="627088" cy="943015"/>
            <a:chOff x="1423875" y="4071849"/>
            <a:chExt cx="627088" cy="943015"/>
          </a:xfrm>
        </p:grpSpPr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A1BAD3C0-82BE-B54D-9145-1EB45E6DD52F}"/>
                </a:ext>
              </a:extLst>
            </p:cNvPr>
            <p:cNvSpPr txBox="1"/>
            <p:nvPr/>
          </p:nvSpPr>
          <p:spPr>
            <a:xfrm>
              <a:off x="1507224" y="4071849"/>
              <a:ext cx="543739" cy="9430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528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1</a:t>
              </a:r>
            </a:p>
          </p:txBody>
        </p:sp>
        <p:sp>
          <p:nvSpPr>
            <p:cNvPr id="16" name="Kombinationstegning 15">
              <a:extLst>
                <a:ext uri="{FF2B5EF4-FFF2-40B4-BE49-F238E27FC236}">
                  <a16:creationId xmlns:a16="http://schemas.microsoft.com/office/drawing/2014/main" id="{38AA8925-755B-CC44-9D77-ABBFFB5873C3}"/>
                </a:ext>
              </a:extLst>
            </p:cNvPr>
            <p:cNvSpPr/>
            <p:nvPr/>
          </p:nvSpPr>
          <p:spPr>
            <a:xfrm>
              <a:off x="1423875" y="4157643"/>
              <a:ext cx="572723" cy="608067"/>
            </a:xfrm>
            <a:custGeom>
              <a:avLst/>
              <a:gdLst>
                <a:gd name="connsiteX0" fmla="*/ 17465 w 572723"/>
                <a:gd name="connsiteY0" fmla="*/ 206977 h 608067"/>
                <a:gd name="connsiteX1" fmla="*/ 15460 w 572723"/>
                <a:gd name="connsiteY1" fmla="*/ 213996 h 608067"/>
                <a:gd name="connsiteX2" fmla="*/ 40533 w 572723"/>
                <a:gd name="connsiteY2" fmla="*/ 142802 h 608067"/>
                <a:gd name="connsiteX3" fmla="*/ 6433 w 572723"/>
                <a:gd name="connsiteY3" fmla="*/ 223020 h 608067"/>
                <a:gd name="connsiteX4" fmla="*/ 8439 w 572723"/>
                <a:gd name="connsiteY4" fmla="*/ 300230 h 608067"/>
                <a:gd name="connsiteX5" fmla="*/ 415 w 572723"/>
                <a:gd name="connsiteY5" fmla="*/ 331315 h 608067"/>
                <a:gd name="connsiteX6" fmla="*/ 1418 w 572723"/>
                <a:gd name="connsiteY6" fmla="*/ 359391 h 608067"/>
                <a:gd name="connsiteX7" fmla="*/ 10445 w 572723"/>
                <a:gd name="connsiteY7" fmla="*/ 392481 h 608067"/>
                <a:gd name="connsiteX8" fmla="*/ 4427 w 572723"/>
                <a:gd name="connsiteY8" fmla="*/ 369418 h 608067"/>
                <a:gd name="connsiteX9" fmla="*/ 10445 w 572723"/>
                <a:gd name="connsiteY9" fmla="*/ 392481 h 608067"/>
                <a:gd name="connsiteX10" fmla="*/ 29501 w 572723"/>
                <a:gd name="connsiteY10" fmla="*/ 445626 h 608067"/>
                <a:gd name="connsiteX11" fmla="*/ 60592 w 572723"/>
                <a:gd name="connsiteY11" fmla="*/ 496765 h 608067"/>
                <a:gd name="connsiteX12" fmla="*/ 156874 w 572723"/>
                <a:gd name="connsiteY12" fmla="*/ 569964 h 608067"/>
                <a:gd name="connsiteX13" fmla="*/ 257167 w 572723"/>
                <a:gd name="connsiteY13" fmla="*/ 601048 h 608067"/>
                <a:gd name="connsiteX14" fmla="*/ 317343 w 572723"/>
                <a:gd name="connsiteY14" fmla="*/ 608067 h 608067"/>
                <a:gd name="connsiteX15" fmla="*/ 364481 w 572723"/>
                <a:gd name="connsiteY15" fmla="*/ 607064 h 608067"/>
                <a:gd name="connsiteX16" fmla="*/ 385543 w 572723"/>
                <a:gd name="connsiteY16" fmla="*/ 604056 h 608067"/>
                <a:gd name="connsiteX17" fmla="*/ 362476 w 572723"/>
                <a:gd name="connsiteY17" fmla="*/ 606062 h 608067"/>
                <a:gd name="connsiteX18" fmla="*/ 438699 w 572723"/>
                <a:gd name="connsiteY18" fmla="*/ 578988 h 608067"/>
                <a:gd name="connsiteX19" fmla="*/ 422652 w 572723"/>
                <a:gd name="connsiteY19" fmla="*/ 580994 h 608067"/>
                <a:gd name="connsiteX20" fmla="*/ 434687 w 572723"/>
                <a:gd name="connsiteY20" fmla="*/ 576983 h 608067"/>
                <a:gd name="connsiteX21" fmla="*/ 476810 w 572723"/>
                <a:gd name="connsiteY21" fmla="*/ 546901 h 608067"/>
                <a:gd name="connsiteX22" fmla="*/ 490852 w 572723"/>
                <a:gd name="connsiteY22" fmla="*/ 537876 h 608067"/>
                <a:gd name="connsiteX23" fmla="*/ 487843 w 572723"/>
                <a:gd name="connsiteY23" fmla="*/ 538879 h 608067"/>
                <a:gd name="connsiteX24" fmla="*/ 521943 w 572723"/>
                <a:gd name="connsiteY24" fmla="*/ 498770 h 608067"/>
                <a:gd name="connsiteX25" fmla="*/ 543004 w 572723"/>
                <a:gd name="connsiteY25" fmla="*/ 454650 h 608067"/>
                <a:gd name="connsiteX26" fmla="*/ 547016 w 572723"/>
                <a:gd name="connsiteY26" fmla="*/ 446628 h 608067"/>
                <a:gd name="connsiteX27" fmla="*/ 553034 w 572723"/>
                <a:gd name="connsiteY27" fmla="*/ 419555 h 608067"/>
                <a:gd name="connsiteX28" fmla="*/ 559051 w 572723"/>
                <a:gd name="connsiteY28" fmla="*/ 411533 h 608067"/>
                <a:gd name="connsiteX29" fmla="*/ 566072 w 572723"/>
                <a:gd name="connsiteY29" fmla="*/ 352372 h 608067"/>
                <a:gd name="connsiteX30" fmla="*/ 571086 w 572723"/>
                <a:gd name="connsiteY30" fmla="*/ 246083 h 608067"/>
                <a:gd name="connsiteX31" fmla="*/ 528963 w 572723"/>
                <a:gd name="connsiteY31" fmla="*/ 144808 h 608067"/>
                <a:gd name="connsiteX32" fmla="*/ 528963 w 572723"/>
                <a:gd name="connsiteY32" fmla="*/ 146813 h 608067"/>
                <a:gd name="connsiteX33" fmla="*/ 469790 w 572723"/>
                <a:gd name="connsiteY33" fmla="*/ 96677 h 608067"/>
                <a:gd name="connsiteX34" fmla="*/ 437696 w 572723"/>
                <a:gd name="connsiteY34" fmla="*/ 83642 h 608067"/>
                <a:gd name="connsiteX35" fmla="*/ 422652 w 572723"/>
                <a:gd name="connsiteY35" fmla="*/ 80633 h 608067"/>
                <a:gd name="connsiteX36" fmla="*/ 412622 w 572723"/>
                <a:gd name="connsiteY36" fmla="*/ 80633 h 608067"/>
                <a:gd name="connsiteX37" fmla="*/ 397578 w 572723"/>
                <a:gd name="connsiteY37" fmla="*/ 77625 h 608067"/>
                <a:gd name="connsiteX38" fmla="*/ 384540 w 572723"/>
                <a:gd name="connsiteY38" fmla="*/ 76622 h 608067"/>
                <a:gd name="connsiteX39" fmla="*/ 372505 w 572723"/>
                <a:gd name="connsiteY39" fmla="*/ 76622 h 608067"/>
                <a:gd name="connsiteX40" fmla="*/ 357461 w 572723"/>
                <a:gd name="connsiteY40" fmla="*/ 77625 h 608067"/>
                <a:gd name="connsiteX41" fmla="*/ 350440 w 572723"/>
                <a:gd name="connsiteY41" fmla="*/ 80633 h 608067"/>
                <a:gd name="connsiteX42" fmla="*/ 347432 w 572723"/>
                <a:gd name="connsiteY42" fmla="*/ 82639 h 608067"/>
                <a:gd name="connsiteX43" fmla="*/ 374511 w 572723"/>
                <a:gd name="connsiteY43" fmla="*/ 85647 h 608067"/>
                <a:gd name="connsiteX44" fmla="*/ 374511 w 572723"/>
                <a:gd name="connsiteY44" fmla="*/ 84644 h 608067"/>
                <a:gd name="connsiteX45" fmla="*/ 451737 w 572723"/>
                <a:gd name="connsiteY45" fmla="*/ 115729 h 608067"/>
                <a:gd name="connsiteX46" fmla="*/ 507901 w 572723"/>
                <a:gd name="connsiteY46" fmla="*/ 175892 h 608067"/>
                <a:gd name="connsiteX47" fmla="*/ 528963 w 572723"/>
                <a:gd name="connsiteY47" fmla="*/ 228034 h 608067"/>
                <a:gd name="connsiteX48" fmla="*/ 531972 w 572723"/>
                <a:gd name="connsiteY48" fmla="*/ 288198 h 608067"/>
                <a:gd name="connsiteX49" fmla="*/ 524951 w 572723"/>
                <a:gd name="connsiteY49" fmla="*/ 357386 h 608067"/>
                <a:gd name="connsiteX50" fmla="*/ 513919 w 572723"/>
                <a:gd name="connsiteY50" fmla="*/ 420557 h 608067"/>
                <a:gd name="connsiteX51" fmla="*/ 503890 w 572723"/>
                <a:gd name="connsiteY51" fmla="*/ 441615 h 608067"/>
                <a:gd name="connsiteX52" fmla="*/ 477813 w 572723"/>
                <a:gd name="connsiteY52" fmla="*/ 489746 h 608067"/>
                <a:gd name="connsiteX53" fmla="*/ 434687 w 572723"/>
                <a:gd name="connsiteY53" fmla="*/ 527849 h 608067"/>
                <a:gd name="connsiteX54" fmla="*/ 436693 w 572723"/>
                <a:gd name="connsiteY54" fmla="*/ 526846 h 608067"/>
                <a:gd name="connsiteX55" fmla="*/ 385543 w 572723"/>
                <a:gd name="connsiteY55" fmla="*/ 545898 h 608067"/>
                <a:gd name="connsiteX56" fmla="*/ 381531 w 572723"/>
                <a:gd name="connsiteY56" fmla="*/ 547904 h 608067"/>
                <a:gd name="connsiteX57" fmla="*/ 361473 w 572723"/>
                <a:gd name="connsiteY57" fmla="*/ 550912 h 608067"/>
                <a:gd name="connsiteX58" fmla="*/ 320352 w 572723"/>
                <a:gd name="connsiteY58" fmla="*/ 556928 h 608067"/>
                <a:gd name="connsiteX59" fmla="*/ 254158 w 572723"/>
                <a:gd name="connsiteY59" fmla="*/ 553920 h 608067"/>
                <a:gd name="connsiteX60" fmla="*/ 247138 w 572723"/>
                <a:gd name="connsiteY60" fmla="*/ 552917 h 608067"/>
                <a:gd name="connsiteX61" fmla="*/ 184956 w 572723"/>
                <a:gd name="connsiteY61" fmla="*/ 529855 h 608067"/>
                <a:gd name="connsiteX62" fmla="*/ 133806 w 572723"/>
                <a:gd name="connsiteY62" fmla="*/ 500776 h 608067"/>
                <a:gd name="connsiteX63" fmla="*/ 112744 w 572723"/>
                <a:gd name="connsiteY63" fmla="*/ 490748 h 608067"/>
                <a:gd name="connsiteX64" fmla="*/ 100709 w 572723"/>
                <a:gd name="connsiteY64" fmla="*/ 480721 h 608067"/>
                <a:gd name="connsiteX65" fmla="*/ 87671 w 572723"/>
                <a:gd name="connsiteY65" fmla="*/ 464677 h 608067"/>
                <a:gd name="connsiteX66" fmla="*/ 64603 w 572723"/>
                <a:gd name="connsiteY66" fmla="*/ 425571 h 608067"/>
                <a:gd name="connsiteX67" fmla="*/ 56580 w 572723"/>
                <a:gd name="connsiteY67" fmla="*/ 407522 h 608067"/>
                <a:gd name="connsiteX68" fmla="*/ 55577 w 572723"/>
                <a:gd name="connsiteY68" fmla="*/ 395489 h 608067"/>
                <a:gd name="connsiteX69" fmla="*/ 51565 w 572723"/>
                <a:gd name="connsiteY69" fmla="*/ 369418 h 608067"/>
                <a:gd name="connsiteX70" fmla="*/ 47553 w 572723"/>
                <a:gd name="connsiteY70" fmla="*/ 347358 h 608067"/>
                <a:gd name="connsiteX71" fmla="*/ 43542 w 572723"/>
                <a:gd name="connsiteY71" fmla="*/ 325299 h 608067"/>
                <a:gd name="connsiteX72" fmla="*/ 43542 w 572723"/>
                <a:gd name="connsiteY72" fmla="*/ 328307 h 608067"/>
                <a:gd name="connsiteX73" fmla="*/ 48556 w 572723"/>
                <a:gd name="connsiteY73" fmla="*/ 280176 h 608067"/>
                <a:gd name="connsiteX74" fmla="*/ 61595 w 572723"/>
                <a:gd name="connsiteY74" fmla="*/ 205974 h 608067"/>
                <a:gd name="connsiteX75" fmla="*/ 89677 w 572723"/>
                <a:gd name="connsiteY75" fmla="*/ 139794 h 608067"/>
                <a:gd name="connsiteX76" fmla="*/ 82656 w 572723"/>
                <a:gd name="connsiteY76" fmla="*/ 147816 h 608067"/>
                <a:gd name="connsiteX77" fmla="*/ 132803 w 572723"/>
                <a:gd name="connsiteY77" fmla="*/ 87652 h 608067"/>
                <a:gd name="connsiteX78" fmla="*/ 143835 w 572723"/>
                <a:gd name="connsiteY78" fmla="*/ 81636 h 608067"/>
                <a:gd name="connsiteX79" fmla="*/ 151859 w 572723"/>
                <a:gd name="connsiteY79" fmla="*/ 74617 h 608067"/>
                <a:gd name="connsiteX80" fmla="*/ 153865 w 572723"/>
                <a:gd name="connsiteY80" fmla="*/ 75620 h 608067"/>
                <a:gd name="connsiteX81" fmla="*/ 171918 w 572723"/>
                <a:gd name="connsiteY81" fmla="*/ 64590 h 608067"/>
                <a:gd name="connsiteX82" fmla="*/ 176932 w 572723"/>
                <a:gd name="connsiteY82" fmla="*/ 60579 h 608067"/>
                <a:gd name="connsiteX83" fmla="*/ 184956 w 572723"/>
                <a:gd name="connsiteY83" fmla="*/ 58573 h 608067"/>
                <a:gd name="connsiteX84" fmla="*/ 184956 w 572723"/>
                <a:gd name="connsiteY84" fmla="*/ 58573 h 608067"/>
                <a:gd name="connsiteX85" fmla="*/ 189970 w 572723"/>
                <a:gd name="connsiteY85" fmla="*/ 56568 h 608067"/>
                <a:gd name="connsiteX86" fmla="*/ 206018 w 572723"/>
                <a:gd name="connsiteY86" fmla="*/ 45538 h 608067"/>
                <a:gd name="connsiteX87" fmla="*/ 223067 w 572723"/>
                <a:gd name="connsiteY87" fmla="*/ 35511 h 608067"/>
                <a:gd name="connsiteX88" fmla="*/ 225073 w 572723"/>
                <a:gd name="connsiteY88" fmla="*/ 35511 h 608067"/>
                <a:gd name="connsiteX89" fmla="*/ 228082 w 572723"/>
                <a:gd name="connsiteY89" fmla="*/ 32503 h 608067"/>
                <a:gd name="connsiteX90" fmla="*/ 234100 w 572723"/>
                <a:gd name="connsiteY90" fmla="*/ 31500 h 608067"/>
                <a:gd name="connsiteX91" fmla="*/ 233097 w 572723"/>
                <a:gd name="connsiteY91" fmla="*/ 31500 h 608067"/>
                <a:gd name="connsiteX92" fmla="*/ 239114 w 572723"/>
                <a:gd name="connsiteY92" fmla="*/ 30497 h 608067"/>
                <a:gd name="connsiteX93" fmla="*/ 240117 w 572723"/>
                <a:gd name="connsiteY93" fmla="*/ 32503 h 608067"/>
                <a:gd name="connsiteX94" fmla="*/ 250147 w 572723"/>
                <a:gd name="connsiteY94" fmla="*/ 30497 h 608067"/>
                <a:gd name="connsiteX95" fmla="*/ 219056 w 572723"/>
                <a:gd name="connsiteY95" fmla="*/ 31500 h 608067"/>
                <a:gd name="connsiteX96" fmla="*/ 234100 w 572723"/>
                <a:gd name="connsiteY96" fmla="*/ 27489 h 608067"/>
                <a:gd name="connsiteX97" fmla="*/ 245132 w 572723"/>
                <a:gd name="connsiteY97" fmla="*/ 27489 h 608067"/>
                <a:gd name="connsiteX98" fmla="*/ 258170 w 572723"/>
                <a:gd name="connsiteY98" fmla="*/ 27489 h 608067"/>
                <a:gd name="connsiteX99" fmla="*/ 265191 w 572723"/>
                <a:gd name="connsiteY99" fmla="*/ 25483 h 608067"/>
                <a:gd name="connsiteX100" fmla="*/ 273214 w 572723"/>
                <a:gd name="connsiteY100" fmla="*/ 26486 h 608067"/>
                <a:gd name="connsiteX101" fmla="*/ 261179 w 572723"/>
                <a:gd name="connsiteY101" fmla="*/ 27489 h 608067"/>
                <a:gd name="connsiteX102" fmla="*/ 266194 w 572723"/>
                <a:gd name="connsiteY102" fmla="*/ 28492 h 608067"/>
                <a:gd name="connsiteX103" fmla="*/ 273214 w 572723"/>
                <a:gd name="connsiteY103" fmla="*/ 28492 h 608067"/>
                <a:gd name="connsiteX104" fmla="*/ 287255 w 572723"/>
                <a:gd name="connsiteY104" fmla="*/ 28492 h 608067"/>
                <a:gd name="connsiteX105" fmla="*/ 293273 w 572723"/>
                <a:gd name="connsiteY105" fmla="*/ 31500 h 608067"/>
                <a:gd name="connsiteX106" fmla="*/ 297285 w 572723"/>
                <a:gd name="connsiteY106" fmla="*/ 30497 h 608067"/>
                <a:gd name="connsiteX107" fmla="*/ 289261 w 572723"/>
                <a:gd name="connsiteY107" fmla="*/ 25483 h 608067"/>
                <a:gd name="connsiteX108" fmla="*/ 300294 w 572723"/>
                <a:gd name="connsiteY108" fmla="*/ 27489 h 608067"/>
                <a:gd name="connsiteX109" fmla="*/ 300294 w 572723"/>
                <a:gd name="connsiteY109" fmla="*/ 25483 h 608067"/>
                <a:gd name="connsiteX110" fmla="*/ 310323 w 572723"/>
                <a:gd name="connsiteY110" fmla="*/ 27489 h 608067"/>
                <a:gd name="connsiteX111" fmla="*/ 307314 w 572723"/>
                <a:gd name="connsiteY111" fmla="*/ 26486 h 608067"/>
                <a:gd name="connsiteX112" fmla="*/ 296282 w 572723"/>
                <a:gd name="connsiteY112" fmla="*/ 28492 h 608067"/>
                <a:gd name="connsiteX113" fmla="*/ 286252 w 572723"/>
                <a:gd name="connsiteY113" fmla="*/ 30497 h 608067"/>
                <a:gd name="connsiteX114" fmla="*/ 299291 w 572723"/>
                <a:gd name="connsiteY114" fmla="*/ 27489 h 608067"/>
                <a:gd name="connsiteX115" fmla="*/ 311326 w 572723"/>
                <a:gd name="connsiteY115" fmla="*/ 26486 h 608067"/>
                <a:gd name="connsiteX116" fmla="*/ 311326 w 572723"/>
                <a:gd name="connsiteY116" fmla="*/ 23478 h 608067"/>
                <a:gd name="connsiteX117" fmla="*/ 307314 w 572723"/>
                <a:gd name="connsiteY117" fmla="*/ 24481 h 608067"/>
                <a:gd name="connsiteX118" fmla="*/ 303302 w 572723"/>
                <a:gd name="connsiteY118" fmla="*/ 20470 h 608067"/>
                <a:gd name="connsiteX119" fmla="*/ 296282 w 572723"/>
                <a:gd name="connsiteY119" fmla="*/ 23478 h 608067"/>
                <a:gd name="connsiteX120" fmla="*/ 288258 w 572723"/>
                <a:gd name="connsiteY120" fmla="*/ 25483 h 608067"/>
                <a:gd name="connsiteX121" fmla="*/ 286252 w 572723"/>
                <a:gd name="connsiteY121" fmla="*/ 24481 h 608067"/>
                <a:gd name="connsiteX122" fmla="*/ 298288 w 572723"/>
                <a:gd name="connsiteY122" fmla="*/ 25483 h 608067"/>
                <a:gd name="connsiteX123" fmla="*/ 305308 w 572723"/>
                <a:gd name="connsiteY123" fmla="*/ 24481 h 608067"/>
                <a:gd name="connsiteX124" fmla="*/ 306311 w 572723"/>
                <a:gd name="connsiteY124" fmla="*/ 24481 h 608067"/>
                <a:gd name="connsiteX125" fmla="*/ 312329 w 572723"/>
                <a:gd name="connsiteY125" fmla="*/ 23478 h 608067"/>
                <a:gd name="connsiteX126" fmla="*/ 310323 w 572723"/>
                <a:gd name="connsiteY126" fmla="*/ 16459 h 608067"/>
                <a:gd name="connsiteX127" fmla="*/ 309320 w 572723"/>
                <a:gd name="connsiteY127" fmla="*/ 9440 h 608067"/>
                <a:gd name="connsiteX128" fmla="*/ 298288 w 572723"/>
                <a:gd name="connsiteY128" fmla="*/ 10443 h 608067"/>
                <a:gd name="connsiteX129" fmla="*/ 288258 w 572723"/>
                <a:gd name="connsiteY129" fmla="*/ 6432 h 608067"/>
                <a:gd name="connsiteX130" fmla="*/ 284246 w 572723"/>
                <a:gd name="connsiteY130" fmla="*/ 7434 h 608067"/>
                <a:gd name="connsiteX131" fmla="*/ 277226 w 572723"/>
                <a:gd name="connsiteY131" fmla="*/ 4426 h 608067"/>
                <a:gd name="connsiteX132" fmla="*/ 266194 w 572723"/>
                <a:gd name="connsiteY132" fmla="*/ 4426 h 608067"/>
                <a:gd name="connsiteX133" fmla="*/ 263185 w 572723"/>
                <a:gd name="connsiteY133" fmla="*/ 6432 h 608067"/>
                <a:gd name="connsiteX134" fmla="*/ 243126 w 572723"/>
                <a:gd name="connsiteY134" fmla="*/ 7434 h 608067"/>
                <a:gd name="connsiteX135" fmla="*/ 239114 w 572723"/>
                <a:gd name="connsiteY135" fmla="*/ 2421 h 608067"/>
                <a:gd name="connsiteX136" fmla="*/ 246135 w 572723"/>
                <a:gd name="connsiteY136" fmla="*/ 4426 h 608067"/>
                <a:gd name="connsiteX137" fmla="*/ 256164 w 572723"/>
                <a:gd name="connsiteY137" fmla="*/ 415 h 608067"/>
                <a:gd name="connsiteX138" fmla="*/ 241120 w 572723"/>
                <a:gd name="connsiteY138" fmla="*/ 1418 h 608067"/>
                <a:gd name="connsiteX139" fmla="*/ 242123 w 572723"/>
                <a:gd name="connsiteY139" fmla="*/ 1418 h 608067"/>
                <a:gd name="connsiteX140" fmla="*/ 222064 w 572723"/>
                <a:gd name="connsiteY140" fmla="*/ 4426 h 608067"/>
                <a:gd name="connsiteX141" fmla="*/ 224070 w 572723"/>
                <a:gd name="connsiteY141" fmla="*/ 1418 h 608067"/>
                <a:gd name="connsiteX142" fmla="*/ 217050 w 572723"/>
                <a:gd name="connsiteY142" fmla="*/ 2421 h 608067"/>
                <a:gd name="connsiteX143" fmla="*/ 217050 w 572723"/>
                <a:gd name="connsiteY143" fmla="*/ 3424 h 608067"/>
                <a:gd name="connsiteX144" fmla="*/ 208023 w 572723"/>
                <a:gd name="connsiteY144" fmla="*/ 5429 h 608067"/>
                <a:gd name="connsiteX145" fmla="*/ 191976 w 572723"/>
                <a:gd name="connsiteY145" fmla="*/ 13451 h 608067"/>
                <a:gd name="connsiteX146" fmla="*/ 177935 w 572723"/>
                <a:gd name="connsiteY146" fmla="*/ 22475 h 608067"/>
                <a:gd name="connsiteX147" fmla="*/ 167906 w 572723"/>
                <a:gd name="connsiteY147" fmla="*/ 26486 h 608067"/>
                <a:gd name="connsiteX148" fmla="*/ 173923 w 572723"/>
                <a:gd name="connsiteY148" fmla="*/ 23478 h 608067"/>
                <a:gd name="connsiteX149" fmla="*/ 186962 w 572723"/>
                <a:gd name="connsiteY149" fmla="*/ 15456 h 608067"/>
                <a:gd name="connsiteX150" fmla="*/ 200000 w 572723"/>
                <a:gd name="connsiteY150" fmla="*/ 8437 h 608067"/>
                <a:gd name="connsiteX151" fmla="*/ 203009 w 572723"/>
                <a:gd name="connsiteY151" fmla="*/ 6432 h 608067"/>
                <a:gd name="connsiteX152" fmla="*/ 192979 w 572723"/>
                <a:gd name="connsiteY152" fmla="*/ 10443 h 608067"/>
                <a:gd name="connsiteX153" fmla="*/ 175929 w 572723"/>
                <a:gd name="connsiteY153" fmla="*/ 19467 h 608067"/>
                <a:gd name="connsiteX154" fmla="*/ 159882 w 572723"/>
                <a:gd name="connsiteY154" fmla="*/ 29494 h 608067"/>
                <a:gd name="connsiteX155" fmla="*/ 151859 w 572723"/>
                <a:gd name="connsiteY155" fmla="*/ 34508 h 608067"/>
                <a:gd name="connsiteX156" fmla="*/ 146844 w 572723"/>
                <a:gd name="connsiteY156" fmla="*/ 39522 h 608067"/>
                <a:gd name="connsiteX157" fmla="*/ 142832 w 572723"/>
                <a:gd name="connsiteY157" fmla="*/ 38519 h 608067"/>
                <a:gd name="connsiteX158" fmla="*/ 141829 w 572723"/>
                <a:gd name="connsiteY158" fmla="*/ 39522 h 608067"/>
                <a:gd name="connsiteX159" fmla="*/ 137818 w 572723"/>
                <a:gd name="connsiteY159" fmla="*/ 40524 h 608067"/>
                <a:gd name="connsiteX160" fmla="*/ 124780 w 572723"/>
                <a:gd name="connsiteY160" fmla="*/ 50552 h 608067"/>
                <a:gd name="connsiteX161" fmla="*/ 112744 w 572723"/>
                <a:gd name="connsiteY161" fmla="*/ 62584 h 608067"/>
                <a:gd name="connsiteX162" fmla="*/ 118762 w 572723"/>
                <a:gd name="connsiteY162" fmla="*/ 50552 h 608067"/>
                <a:gd name="connsiteX163" fmla="*/ 119765 w 572723"/>
                <a:gd name="connsiteY163" fmla="*/ 50552 h 608067"/>
                <a:gd name="connsiteX164" fmla="*/ 122774 w 572723"/>
                <a:gd name="connsiteY164" fmla="*/ 45538 h 608067"/>
                <a:gd name="connsiteX165" fmla="*/ 109736 w 572723"/>
                <a:gd name="connsiteY165" fmla="*/ 57571 h 608067"/>
                <a:gd name="connsiteX166" fmla="*/ 106727 w 572723"/>
                <a:gd name="connsiteY166" fmla="*/ 59576 h 608067"/>
                <a:gd name="connsiteX167" fmla="*/ 106727 w 572723"/>
                <a:gd name="connsiteY167" fmla="*/ 59576 h 608067"/>
                <a:gd name="connsiteX168" fmla="*/ 104721 w 572723"/>
                <a:gd name="connsiteY168" fmla="*/ 59576 h 608067"/>
                <a:gd name="connsiteX169" fmla="*/ 104721 w 572723"/>
                <a:gd name="connsiteY169" fmla="*/ 58573 h 608067"/>
                <a:gd name="connsiteX170" fmla="*/ 93688 w 572723"/>
                <a:gd name="connsiteY170" fmla="*/ 68601 h 608067"/>
                <a:gd name="connsiteX171" fmla="*/ 80650 w 572723"/>
                <a:gd name="connsiteY171" fmla="*/ 84644 h 608067"/>
                <a:gd name="connsiteX172" fmla="*/ 78644 w 572723"/>
                <a:gd name="connsiteY172" fmla="*/ 88655 h 608067"/>
                <a:gd name="connsiteX173" fmla="*/ 58586 w 572723"/>
                <a:gd name="connsiteY173" fmla="*/ 112721 h 608067"/>
                <a:gd name="connsiteX174" fmla="*/ 61595 w 572723"/>
                <a:gd name="connsiteY174" fmla="*/ 113723 h 608067"/>
                <a:gd name="connsiteX175" fmla="*/ 56580 w 572723"/>
                <a:gd name="connsiteY175" fmla="*/ 121745 h 608067"/>
                <a:gd name="connsiteX176" fmla="*/ 51565 w 572723"/>
                <a:gd name="connsiteY176" fmla="*/ 123751 h 608067"/>
                <a:gd name="connsiteX177" fmla="*/ 46550 w 572723"/>
                <a:gd name="connsiteY177" fmla="*/ 124753 h 608067"/>
                <a:gd name="connsiteX178" fmla="*/ 40533 w 572723"/>
                <a:gd name="connsiteY178" fmla="*/ 136786 h 608067"/>
                <a:gd name="connsiteX179" fmla="*/ 39530 w 572723"/>
                <a:gd name="connsiteY179" fmla="*/ 144808 h 608067"/>
                <a:gd name="connsiteX180" fmla="*/ 31506 w 572723"/>
                <a:gd name="connsiteY180" fmla="*/ 156841 h 608067"/>
                <a:gd name="connsiteX181" fmla="*/ 29501 w 572723"/>
                <a:gd name="connsiteY181" fmla="*/ 154835 h 608067"/>
                <a:gd name="connsiteX182" fmla="*/ 19471 w 572723"/>
                <a:gd name="connsiteY182" fmla="*/ 173887 h 608067"/>
                <a:gd name="connsiteX183" fmla="*/ 16462 w 572723"/>
                <a:gd name="connsiteY183" fmla="*/ 194944 h 608067"/>
                <a:gd name="connsiteX184" fmla="*/ 17465 w 572723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0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1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6" y="569964"/>
                    <a:pt x="467784" y="555925"/>
                    <a:pt x="476810" y="546901"/>
                  </a:cubicBezTo>
                  <a:cubicBezTo>
                    <a:pt x="475807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3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39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6" y="319282"/>
                    <a:pt x="575098" y="283184"/>
                    <a:pt x="571086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1"/>
                    <a:pt x="493860" y="114726"/>
                    <a:pt x="469790" y="96677"/>
                  </a:cubicBezTo>
                  <a:cubicBezTo>
                    <a:pt x="459760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2"/>
                    <a:pt x="384540" y="76622"/>
                  </a:cubicBezTo>
                  <a:cubicBezTo>
                    <a:pt x="380528" y="76622"/>
                    <a:pt x="376517" y="76622"/>
                    <a:pt x="372505" y="76622"/>
                  </a:cubicBezTo>
                  <a:cubicBezTo>
                    <a:pt x="368493" y="76622"/>
                    <a:pt x="363479" y="76622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4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3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8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6"/>
                    <a:pt x="64603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7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2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8" y="64590"/>
                  </a:cubicBezTo>
                  <a:cubicBezTo>
                    <a:pt x="171918" y="63587"/>
                    <a:pt x="173923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8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5" y="25483"/>
                    <a:pt x="273214" y="26486"/>
                  </a:cubicBezTo>
                  <a:cubicBezTo>
                    <a:pt x="269202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2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49" y="7434"/>
                    <a:pt x="284246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3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3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8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4" y="87652"/>
                    <a:pt x="80650" y="85647"/>
                    <a:pt x="78644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9471" y="207980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088A53C9-7CE7-AD48-8870-F4DF2FF74E86}"/>
              </a:ext>
            </a:extLst>
          </p:cNvPr>
          <p:cNvGrpSpPr/>
          <p:nvPr userDrawn="1"/>
        </p:nvGrpSpPr>
        <p:grpSpPr>
          <a:xfrm>
            <a:off x="1308676" y="5490022"/>
            <a:ext cx="580929" cy="906402"/>
            <a:chOff x="4467788" y="4090750"/>
            <a:chExt cx="580929" cy="906402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4566AFE7-5DED-5B48-97A5-4133C1C75FB4}"/>
                </a:ext>
              </a:extLst>
            </p:cNvPr>
            <p:cNvSpPr txBox="1"/>
            <p:nvPr/>
          </p:nvSpPr>
          <p:spPr>
            <a:xfrm>
              <a:off x="4521008" y="4090750"/>
              <a:ext cx="527709" cy="9064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290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5</a:t>
              </a:r>
            </a:p>
          </p:txBody>
        </p:sp>
        <p:sp>
          <p:nvSpPr>
            <p:cNvPr id="18" name="Kombinationstegning 17">
              <a:extLst>
                <a:ext uri="{FF2B5EF4-FFF2-40B4-BE49-F238E27FC236}">
                  <a16:creationId xmlns:a16="http://schemas.microsoft.com/office/drawing/2014/main" id="{389A7E92-22F2-8647-871D-CC13CB86CC94}"/>
                </a:ext>
              </a:extLst>
            </p:cNvPr>
            <p:cNvSpPr/>
            <p:nvPr/>
          </p:nvSpPr>
          <p:spPr>
            <a:xfrm>
              <a:off x="4467788" y="4173686"/>
              <a:ext cx="572723" cy="606061"/>
            </a:xfrm>
            <a:custGeom>
              <a:avLst/>
              <a:gdLst>
                <a:gd name="connsiteX0" fmla="*/ 17465 w 572723"/>
                <a:gd name="connsiteY0" fmla="*/ 204971 h 606061"/>
                <a:gd name="connsiteX1" fmla="*/ 15460 w 572723"/>
                <a:gd name="connsiteY1" fmla="*/ 211990 h 606061"/>
                <a:gd name="connsiteX2" fmla="*/ 40533 w 572723"/>
                <a:gd name="connsiteY2" fmla="*/ 140797 h 606061"/>
                <a:gd name="connsiteX3" fmla="*/ 6433 w 572723"/>
                <a:gd name="connsiteY3" fmla="*/ 221015 h 606061"/>
                <a:gd name="connsiteX4" fmla="*/ 8439 w 572723"/>
                <a:gd name="connsiteY4" fmla="*/ 298225 h 606061"/>
                <a:gd name="connsiteX5" fmla="*/ 415 w 572723"/>
                <a:gd name="connsiteY5" fmla="*/ 329309 h 606061"/>
                <a:gd name="connsiteX6" fmla="*/ 1418 w 572723"/>
                <a:gd name="connsiteY6" fmla="*/ 357386 h 606061"/>
                <a:gd name="connsiteX7" fmla="*/ 10445 w 572723"/>
                <a:gd name="connsiteY7" fmla="*/ 390476 h 606061"/>
                <a:gd name="connsiteX8" fmla="*/ 4427 w 572723"/>
                <a:gd name="connsiteY8" fmla="*/ 367413 h 606061"/>
                <a:gd name="connsiteX9" fmla="*/ 10445 w 572723"/>
                <a:gd name="connsiteY9" fmla="*/ 390476 h 606061"/>
                <a:gd name="connsiteX10" fmla="*/ 29501 w 572723"/>
                <a:gd name="connsiteY10" fmla="*/ 443620 h 606061"/>
                <a:gd name="connsiteX11" fmla="*/ 60592 w 572723"/>
                <a:gd name="connsiteY11" fmla="*/ 494759 h 606061"/>
                <a:gd name="connsiteX12" fmla="*/ 156874 w 572723"/>
                <a:gd name="connsiteY12" fmla="*/ 567958 h 606061"/>
                <a:gd name="connsiteX13" fmla="*/ 257167 w 572723"/>
                <a:gd name="connsiteY13" fmla="*/ 599043 h 606061"/>
                <a:gd name="connsiteX14" fmla="*/ 317344 w 572723"/>
                <a:gd name="connsiteY14" fmla="*/ 606062 h 606061"/>
                <a:gd name="connsiteX15" fmla="*/ 364481 w 572723"/>
                <a:gd name="connsiteY15" fmla="*/ 605059 h 606061"/>
                <a:gd name="connsiteX16" fmla="*/ 385543 w 572723"/>
                <a:gd name="connsiteY16" fmla="*/ 602051 h 606061"/>
                <a:gd name="connsiteX17" fmla="*/ 362476 w 572723"/>
                <a:gd name="connsiteY17" fmla="*/ 604056 h 606061"/>
                <a:gd name="connsiteX18" fmla="*/ 438699 w 572723"/>
                <a:gd name="connsiteY18" fmla="*/ 576983 h 606061"/>
                <a:gd name="connsiteX19" fmla="*/ 422652 w 572723"/>
                <a:gd name="connsiteY19" fmla="*/ 578988 h 606061"/>
                <a:gd name="connsiteX20" fmla="*/ 434687 w 572723"/>
                <a:gd name="connsiteY20" fmla="*/ 574977 h 606061"/>
                <a:gd name="connsiteX21" fmla="*/ 476810 w 572723"/>
                <a:gd name="connsiteY21" fmla="*/ 544896 h 606061"/>
                <a:gd name="connsiteX22" fmla="*/ 490852 w 572723"/>
                <a:gd name="connsiteY22" fmla="*/ 535871 h 606061"/>
                <a:gd name="connsiteX23" fmla="*/ 487843 w 572723"/>
                <a:gd name="connsiteY23" fmla="*/ 536874 h 606061"/>
                <a:gd name="connsiteX24" fmla="*/ 521943 w 572723"/>
                <a:gd name="connsiteY24" fmla="*/ 496765 h 606061"/>
                <a:gd name="connsiteX25" fmla="*/ 543004 w 572723"/>
                <a:gd name="connsiteY25" fmla="*/ 452645 h 606061"/>
                <a:gd name="connsiteX26" fmla="*/ 547016 w 572723"/>
                <a:gd name="connsiteY26" fmla="*/ 444623 h 606061"/>
                <a:gd name="connsiteX27" fmla="*/ 553034 w 572723"/>
                <a:gd name="connsiteY27" fmla="*/ 417549 h 606061"/>
                <a:gd name="connsiteX28" fmla="*/ 559051 w 572723"/>
                <a:gd name="connsiteY28" fmla="*/ 409528 h 606061"/>
                <a:gd name="connsiteX29" fmla="*/ 566072 w 572723"/>
                <a:gd name="connsiteY29" fmla="*/ 350367 h 606061"/>
                <a:gd name="connsiteX30" fmla="*/ 571086 w 572723"/>
                <a:gd name="connsiteY30" fmla="*/ 244078 h 606061"/>
                <a:gd name="connsiteX31" fmla="*/ 528963 w 572723"/>
                <a:gd name="connsiteY31" fmla="*/ 142802 h 606061"/>
                <a:gd name="connsiteX32" fmla="*/ 528963 w 572723"/>
                <a:gd name="connsiteY32" fmla="*/ 144808 h 606061"/>
                <a:gd name="connsiteX33" fmla="*/ 469790 w 572723"/>
                <a:gd name="connsiteY33" fmla="*/ 94672 h 606061"/>
                <a:gd name="connsiteX34" fmla="*/ 437696 w 572723"/>
                <a:gd name="connsiteY34" fmla="*/ 81636 h 606061"/>
                <a:gd name="connsiteX35" fmla="*/ 422652 w 572723"/>
                <a:gd name="connsiteY35" fmla="*/ 78628 h 606061"/>
                <a:gd name="connsiteX36" fmla="*/ 412623 w 572723"/>
                <a:gd name="connsiteY36" fmla="*/ 78628 h 606061"/>
                <a:gd name="connsiteX37" fmla="*/ 397579 w 572723"/>
                <a:gd name="connsiteY37" fmla="*/ 75620 h 606061"/>
                <a:gd name="connsiteX38" fmla="*/ 384540 w 572723"/>
                <a:gd name="connsiteY38" fmla="*/ 74617 h 606061"/>
                <a:gd name="connsiteX39" fmla="*/ 372505 w 572723"/>
                <a:gd name="connsiteY39" fmla="*/ 74617 h 606061"/>
                <a:gd name="connsiteX40" fmla="*/ 357461 w 572723"/>
                <a:gd name="connsiteY40" fmla="*/ 75620 h 606061"/>
                <a:gd name="connsiteX41" fmla="*/ 350440 w 572723"/>
                <a:gd name="connsiteY41" fmla="*/ 78628 h 606061"/>
                <a:gd name="connsiteX42" fmla="*/ 347432 w 572723"/>
                <a:gd name="connsiteY42" fmla="*/ 80633 h 606061"/>
                <a:gd name="connsiteX43" fmla="*/ 374511 w 572723"/>
                <a:gd name="connsiteY43" fmla="*/ 83642 h 606061"/>
                <a:gd name="connsiteX44" fmla="*/ 374511 w 572723"/>
                <a:gd name="connsiteY44" fmla="*/ 82639 h 606061"/>
                <a:gd name="connsiteX45" fmla="*/ 451737 w 572723"/>
                <a:gd name="connsiteY45" fmla="*/ 113723 h 606061"/>
                <a:gd name="connsiteX46" fmla="*/ 507902 w 572723"/>
                <a:gd name="connsiteY46" fmla="*/ 173887 h 606061"/>
                <a:gd name="connsiteX47" fmla="*/ 528963 w 572723"/>
                <a:gd name="connsiteY47" fmla="*/ 226029 h 606061"/>
                <a:gd name="connsiteX48" fmla="*/ 531972 w 572723"/>
                <a:gd name="connsiteY48" fmla="*/ 286192 h 606061"/>
                <a:gd name="connsiteX49" fmla="*/ 524951 w 572723"/>
                <a:gd name="connsiteY49" fmla="*/ 355380 h 606061"/>
                <a:gd name="connsiteX50" fmla="*/ 513919 w 572723"/>
                <a:gd name="connsiteY50" fmla="*/ 418552 h 606061"/>
                <a:gd name="connsiteX51" fmla="*/ 503890 w 572723"/>
                <a:gd name="connsiteY51" fmla="*/ 439609 h 606061"/>
                <a:gd name="connsiteX52" fmla="*/ 477813 w 572723"/>
                <a:gd name="connsiteY52" fmla="*/ 487740 h 606061"/>
                <a:gd name="connsiteX53" fmla="*/ 434687 w 572723"/>
                <a:gd name="connsiteY53" fmla="*/ 525844 h 606061"/>
                <a:gd name="connsiteX54" fmla="*/ 436693 w 572723"/>
                <a:gd name="connsiteY54" fmla="*/ 524841 h 606061"/>
                <a:gd name="connsiteX55" fmla="*/ 385543 w 572723"/>
                <a:gd name="connsiteY55" fmla="*/ 543893 h 606061"/>
                <a:gd name="connsiteX56" fmla="*/ 381531 w 572723"/>
                <a:gd name="connsiteY56" fmla="*/ 545898 h 606061"/>
                <a:gd name="connsiteX57" fmla="*/ 361473 w 572723"/>
                <a:gd name="connsiteY57" fmla="*/ 548906 h 606061"/>
                <a:gd name="connsiteX58" fmla="*/ 320352 w 572723"/>
                <a:gd name="connsiteY58" fmla="*/ 554923 h 606061"/>
                <a:gd name="connsiteX59" fmla="*/ 254158 w 572723"/>
                <a:gd name="connsiteY59" fmla="*/ 551915 h 606061"/>
                <a:gd name="connsiteX60" fmla="*/ 247138 w 572723"/>
                <a:gd name="connsiteY60" fmla="*/ 550912 h 606061"/>
                <a:gd name="connsiteX61" fmla="*/ 184956 w 572723"/>
                <a:gd name="connsiteY61" fmla="*/ 527849 h 606061"/>
                <a:gd name="connsiteX62" fmla="*/ 133806 w 572723"/>
                <a:gd name="connsiteY62" fmla="*/ 498770 h 606061"/>
                <a:gd name="connsiteX63" fmla="*/ 112744 w 572723"/>
                <a:gd name="connsiteY63" fmla="*/ 488743 h 606061"/>
                <a:gd name="connsiteX64" fmla="*/ 100709 w 572723"/>
                <a:gd name="connsiteY64" fmla="*/ 478716 h 606061"/>
                <a:gd name="connsiteX65" fmla="*/ 87671 w 572723"/>
                <a:gd name="connsiteY65" fmla="*/ 462672 h 606061"/>
                <a:gd name="connsiteX66" fmla="*/ 64603 w 572723"/>
                <a:gd name="connsiteY66" fmla="*/ 423566 h 606061"/>
                <a:gd name="connsiteX67" fmla="*/ 56580 w 572723"/>
                <a:gd name="connsiteY67" fmla="*/ 405517 h 606061"/>
                <a:gd name="connsiteX68" fmla="*/ 55577 w 572723"/>
                <a:gd name="connsiteY68" fmla="*/ 393484 h 606061"/>
                <a:gd name="connsiteX69" fmla="*/ 51565 w 572723"/>
                <a:gd name="connsiteY69" fmla="*/ 367413 h 606061"/>
                <a:gd name="connsiteX70" fmla="*/ 47553 w 572723"/>
                <a:gd name="connsiteY70" fmla="*/ 345353 h 606061"/>
                <a:gd name="connsiteX71" fmla="*/ 43542 w 572723"/>
                <a:gd name="connsiteY71" fmla="*/ 323293 h 606061"/>
                <a:gd name="connsiteX72" fmla="*/ 43542 w 572723"/>
                <a:gd name="connsiteY72" fmla="*/ 326301 h 606061"/>
                <a:gd name="connsiteX73" fmla="*/ 48556 w 572723"/>
                <a:gd name="connsiteY73" fmla="*/ 278170 h 606061"/>
                <a:gd name="connsiteX74" fmla="*/ 61595 w 572723"/>
                <a:gd name="connsiteY74" fmla="*/ 203969 h 606061"/>
                <a:gd name="connsiteX75" fmla="*/ 89677 w 572723"/>
                <a:gd name="connsiteY75" fmla="*/ 137789 h 606061"/>
                <a:gd name="connsiteX76" fmla="*/ 82656 w 572723"/>
                <a:gd name="connsiteY76" fmla="*/ 145811 h 606061"/>
                <a:gd name="connsiteX77" fmla="*/ 132803 w 572723"/>
                <a:gd name="connsiteY77" fmla="*/ 85647 h 606061"/>
                <a:gd name="connsiteX78" fmla="*/ 143835 w 572723"/>
                <a:gd name="connsiteY78" fmla="*/ 79631 h 606061"/>
                <a:gd name="connsiteX79" fmla="*/ 151859 w 572723"/>
                <a:gd name="connsiteY79" fmla="*/ 72612 h 606061"/>
                <a:gd name="connsiteX80" fmla="*/ 153865 w 572723"/>
                <a:gd name="connsiteY80" fmla="*/ 73614 h 606061"/>
                <a:gd name="connsiteX81" fmla="*/ 171918 w 572723"/>
                <a:gd name="connsiteY81" fmla="*/ 62584 h 606061"/>
                <a:gd name="connsiteX82" fmla="*/ 176932 w 572723"/>
                <a:gd name="connsiteY82" fmla="*/ 58573 h 606061"/>
                <a:gd name="connsiteX83" fmla="*/ 184956 w 572723"/>
                <a:gd name="connsiteY83" fmla="*/ 56568 h 606061"/>
                <a:gd name="connsiteX84" fmla="*/ 184956 w 572723"/>
                <a:gd name="connsiteY84" fmla="*/ 56568 h 606061"/>
                <a:gd name="connsiteX85" fmla="*/ 189970 w 572723"/>
                <a:gd name="connsiteY85" fmla="*/ 54563 h 606061"/>
                <a:gd name="connsiteX86" fmla="*/ 206018 w 572723"/>
                <a:gd name="connsiteY86" fmla="*/ 43533 h 606061"/>
                <a:gd name="connsiteX87" fmla="*/ 223067 w 572723"/>
                <a:gd name="connsiteY87" fmla="*/ 33505 h 606061"/>
                <a:gd name="connsiteX88" fmla="*/ 225073 w 572723"/>
                <a:gd name="connsiteY88" fmla="*/ 33505 h 606061"/>
                <a:gd name="connsiteX89" fmla="*/ 228082 w 572723"/>
                <a:gd name="connsiteY89" fmla="*/ 30497 h 606061"/>
                <a:gd name="connsiteX90" fmla="*/ 234100 w 572723"/>
                <a:gd name="connsiteY90" fmla="*/ 29494 h 606061"/>
                <a:gd name="connsiteX91" fmla="*/ 233097 w 572723"/>
                <a:gd name="connsiteY91" fmla="*/ 29494 h 606061"/>
                <a:gd name="connsiteX92" fmla="*/ 239114 w 572723"/>
                <a:gd name="connsiteY92" fmla="*/ 28492 h 606061"/>
                <a:gd name="connsiteX93" fmla="*/ 240117 w 572723"/>
                <a:gd name="connsiteY93" fmla="*/ 30497 h 606061"/>
                <a:gd name="connsiteX94" fmla="*/ 250147 w 572723"/>
                <a:gd name="connsiteY94" fmla="*/ 28492 h 606061"/>
                <a:gd name="connsiteX95" fmla="*/ 219056 w 572723"/>
                <a:gd name="connsiteY95" fmla="*/ 29494 h 606061"/>
                <a:gd name="connsiteX96" fmla="*/ 234100 w 572723"/>
                <a:gd name="connsiteY96" fmla="*/ 25483 h 606061"/>
                <a:gd name="connsiteX97" fmla="*/ 245132 w 572723"/>
                <a:gd name="connsiteY97" fmla="*/ 25483 h 606061"/>
                <a:gd name="connsiteX98" fmla="*/ 258170 w 572723"/>
                <a:gd name="connsiteY98" fmla="*/ 25483 h 606061"/>
                <a:gd name="connsiteX99" fmla="*/ 265191 w 572723"/>
                <a:gd name="connsiteY99" fmla="*/ 23478 h 606061"/>
                <a:gd name="connsiteX100" fmla="*/ 273214 w 572723"/>
                <a:gd name="connsiteY100" fmla="*/ 24481 h 606061"/>
                <a:gd name="connsiteX101" fmla="*/ 261179 w 572723"/>
                <a:gd name="connsiteY101" fmla="*/ 25483 h 606061"/>
                <a:gd name="connsiteX102" fmla="*/ 266194 w 572723"/>
                <a:gd name="connsiteY102" fmla="*/ 26486 h 606061"/>
                <a:gd name="connsiteX103" fmla="*/ 273214 w 572723"/>
                <a:gd name="connsiteY103" fmla="*/ 26486 h 606061"/>
                <a:gd name="connsiteX104" fmla="*/ 287255 w 572723"/>
                <a:gd name="connsiteY104" fmla="*/ 26486 h 606061"/>
                <a:gd name="connsiteX105" fmla="*/ 293273 w 572723"/>
                <a:gd name="connsiteY105" fmla="*/ 29494 h 606061"/>
                <a:gd name="connsiteX106" fmla="*/ 297285 w 572723"/>
                <a:gd name="connsiteY106" fmla="*/ 28492 h 606061"/>
                <a:gd name="connsiteX107" fmla="*/ 289261 w 572723"/>
                <a:gd name="connsiteY107" fmla="*/ 23478 h 606061"/>
                <a:gd name="connsiteX108" fmla="*/ 300294 w 572723"/>
                <a:gd name="connsiteY108" fmla="*/ 25483 h 606061"/>
                <a:gd name="connsiteX109" fmla="*/ 300294 w 572723"/>
                <a:gd name="connsiteY109" fmla="*/ 23478 h 606061"/>
                <a:gd name="connsiteX110" fmla="*/ 310323 w 572723"/>
                <a:gd name="connsiteY110" fmla="*/ 25483 h 606061"/>
                <a:gd name="connsiteX111" fmla="*/ 307314 w 572723"/>
                <a:gd name="connsiteY111" fmla="*/ 24481 h 606061"/>
                <a:gd name="connsiteX112" fmla="*/ 296282 w 572723"/>
                <a:gd name="connsiteY112" fmla="*/ 26486 h 606061"/>
                <a:gd name="connsiteX113" fmla="*/ 286252 w 572723"/>
                <a:gd name="connsiteY113" fmla="*/ 28492 h 606061"/>
                <a:gd name="connsiteX114" fmla="*/ 299291 w 572723"/>
                <a:gd name="connsiteY114" fmla="*/ 25483 h 606061"/>
                <a:gd name="connsiteX115" fmla="*/ 311326 w 572723"/>
                <a:gd name="connsiteY115" fmla="*/ 24481 h 606061"/>
                <a:gd name="connsiteX116" fmla="*/ 311326 w 572723"/>
                <a:gd name="connsiteY116" fmla="*/ 21473 h 606061"/>
                <a:gd name="connsiteX117" fmla="*/ 307314 w 572723"/>
                <a:gd name="connsiteY117" fmla="*/ 22475 h 606061"/>
                <a:gd name="connsiteX118" fmla="*/ 303302 w 572723"/>
                <a:gd name="connsiteY118" fmla="*/ 18464 h 606061"/>
                <a:gd name="connsiteX119" fmla="*/ 296282 w 572723"/>
                <a:gd name="connsiteY119" fmla="*/ 21473 h 606061"/>
                <a:gd name="connsiteX120" fmla="*/ 288258 w 572723"/>
                <a:gd name="connsiteY120" fmla="*/ 23478 h 606061"/>
                <a:gd name="connsiteX121" fmla="*/ 290264 w 572723"/>
                <a:gd name="connsiteY121" fmla="*/ 24481 h 606061"/>
                <a:gd name="connsiteX122" fmla="*/ 302300 w 572723"/>
                <a:gd name="connsiteY122" fmla="*/ 25483 h 606061"/>
                <a:gd name="connsiteX123" fmla="*/ 309320 w 572723"/>
                <a:gd name="connsiteY123" fmla="*/ 24481 h 606061"/>
                <a:gd name="connsiteX124" fmla="*/ 310323 w 572723"/>
                <a:gd name="connsiteY124" fmla="*/ 24481 h 606061"/>
                <a:gd name="connsiteX125" fmla="*/ 316341 w 572723"/>
                <a:gd name="connsiteY125" fmla="*/ 23478 h 606061"/>
                <a:gd name="connsiteX126" fmla="*/ 314335 w 572723"/>
                <a:gd name="connsiteY126" fmla="*/ 16459 h 606061"/>
                <a:gd name="connsiteX127" fmla="*/ 313332 w 572723"/>
                <a:gd name="connsiteY127" fmla="*/ 9440 h 606061"/>
                <a:gd name="connsiteX128" fmla="*/ 302300 w 572723"/>
                <a:gd name="connsiteY128" fmla="*/ 10443 h 606061"/>
                <a:gd name="connsiteX129" fmla="*/ 292270 w 572723"/>
                <a:gd name="connsiteY129" fmla="*/ 6432 h 606061"/>
                <a:gd name="connsiteX130" fmla="*/ 288258 w 572723"/>
                <a:gd name="connsiteY130" fmla="*/ 7434 h 606061"/>
                <a:gd name="connsiteX131" fmla="*/ 281238 w 572723"/>
                <a:gd name="connsiteY131" fmla="*/ 4426 h 606061"/>
                <a:gd name="connsiteX132" fmla="*/ 270205 w 572723"/>
                <a:gd name="connsiteY132" fmla="*/ 4426 h 606061"/>
                <a:gd name="connsiteX133" fmla="*/ 267197 w 572723"/>
                <a:gd name="connsiteY133" fmla="*/ 6432 h 606061"/>
                <a:gd name="connsiteX134" fmla="*/ 247138 w 572723"/>
                <a:gd name="connsiteY134" fmla="*/ 7434 h 606061"/>
                <a:gd name="connsiteX135" fmla="*/ 243126 w 572723"/>
                <a:gd name="connsiteY135" fmla="*/ 2421 h 606061"/>
                <a:gd name="connsiteX136" fmla="*/ 250147 w 572723"/>
                <a:gd name="connsiteY136" fmla="*/ 4426 h 606061"/>
                <a:gd name="connsiteX137" fmla="*/ 260176 w 572723"/>
                <a:gd name="connsiteY137" fmla="*/ 415 h 606061"/>
                <a:gd name="connsiteX138" fmla="*/ 245132 w 572723"/>
                <a:gd name="connsiteY138" fmla="*/ 1418 h 606061"/>
                <a:gd name="connsiteX139" fmla="*/ 246135 w 572723"/>
                <a:gd name="connsiteY139" fmla="*/ 1418 h 606061"/>
                <a:gd name="connsiteX140" fmla="*/ 226076 w 572723"/>
                <a:gd name="connsiteY140" fmla="*/ 4426 h 606061"/>
                <a:gd name="connsiteX141" fmla="*/ 228082 w 572723"/>
                <a:gd name="connsiteY141" fmla="*/ 1418 h 606061"/>
                <a:gd name="connsiteX142" fmla="*/ 220059 w 572723"/>
                <a:gd name="connsiteY142" fmla="*/ 4426 h 606061"/>
                <a:gd name="connsiteX143" fmla="*/ 220059 w 572723"/>
                <a:gd name="connsiteY143" fmla="*/ 5429 h 606061"/>
                <a:gd name="connsiteX144" fmla="*/ 211032 w 572723"/>
                <a:gd name="connsiteY144" fmla="*/ 7434 h 606061"/>
                <a:gd name="connsiteX145" fmla="*/ 194985 w 572723"/>
                <a:gd name="connsiteY145" fmla="*/ 15456 h 606061"/>
                <a:gd name="connsiteX146" fmla="*/ 180944 w 572723"/>
                <a:gd name="connsiteY146" fmla="*/ 24481 h 606061"/>
                <a:gd name="connsiteX147" fmla="*/ 170915 w 572723"/>
                <a:gd name="connsiteY147" fmla="*/ 28492 h 606061"/>
                <a:gd name="connsiteX148" fmla="*/ 176932 w 572723"/>
                <a:gd name="connsiteY148" fmla="*/ 25483 h 606061"/>
                <a:gd name="connsiteX149" fmla="*/ 189970 w 572723"/>
                <a:gd name="connsiteY149" fmla="*/ 17462 h 606061"/>
                <a:gd name="connsiteX150" fmla="*/ 203009 w 572723"/>
                <a:gd name="connsiteY150" fmla="*/ 10443 h 606061"/>
                <a:gd name="connsiteX151" fmla="*/ 206018 w 572723"/>
                <a:gd name="connsiteY151" fmla="*/ 8437 h 606061"/>
                <a:gd name="connsiteX152" fmla="*/ 195988 w 572723"/>
                <a:gd name="connsiteY152" fmla="*/ 12448 h 606061"/>
                <a:gd name="connsiteX153" fmla="*/ 178938 w 572723"/>
                <a:gd name="connsiteY153" fmla="*/ 21473 h 606061"/>
                <a:gd name="connsiteX154" fmla="*/ 162891 w 572723"/>
                <a:gd name="connsiteY154" fmla="*/ 31500 h 606061"/>
                <a:gd name="connsiteX155" fmla="*/ 154868 w 572723"/>
                <a:gd name="connsiteY155" fmla="*/ 36513 h 606061"/>
                <a:gd name="connsiteX156" fmla="*/ 149853 w 572723"/>
                <a:gd name="connsiteY156" fmla="*/ 41527 h 606061"/>
                <a:gd name="connsiteX157" fmla="*/ 145841 w 572723"/>
                <a:gd name="connsiteY157" fmla="*/ 40524 h 606061"/>
                <a:gd name="connsiteX158" fmla="*/ 144838 w 572723"/>
                <a:gd name="connsiteY158" fmla="*/ 41527 h 606061"/>
                <a:gd name="connsiteX159" fmla="*/ 140827 w 572723"/>
                <a:gd name="connsiteY159" fmla="*/ 42530 h 606061"/>
                <a:gd name="connsiteX160" fmla="*/ 127788 w 572723"/>
                <a:gd name="connsiteY160" fmla="*/ 52557 h 606061"/>
                <a:gd name="connsiteX161" fmla="*/ 115753 w 572723"/>
                <a:gd name="connsiteY161" fmla="*/ 64590 h 606061"/>
                <a:gd name="connsiteX162" fmla="*/ 121771 w 572723"/>
                <a:gd name="connsiteY162" fmla="*/ 52557 h 606061"/>
                <a:gd name="connsiteX163" fmla="*/ 122774 w 572723"/>
                <a:gd name="connsiteY163" fmla="*/ 52557 h 606061"/>
                <a:gd name="connsiteX164" fmla="*/ 125783 w 572723"/>
                <a:gd name="connsiteY164" fmla="*/ 47543 h 606061"/>
                <a:gd name="connsiteX165" fmla="*/ 112744 w 572723"/>
                <a:gd name="connsiteY165" fmla="*/ 59576 h 606061"/>
                <a:gd name="connsiteX166" fmla="*/ 109736 w 572723"/>
                <a:gd name="connsiteY166" fmla="*/ 61582 h 606061"/>
                <a:gd name="connsiteX167" fmla="*/ 109736 w 572723"/>
                <a:gd name="connsiteY167" fmla="*/ 61582 h 606061"/>
                <a:gd name="connsiteX168" fmla="*/ 107730 w 572723"/>
                <a:gd name="connsiteY168" fmla="*/ 61582 h 606061"/>
                <a:gd name="connsiteX169" fmla="*/ 107730 w 572723"/>
                <a:gd name="connsiteY169" fmla="*/ 60579 h 606061"/>
                <a:gd name="connsiteX170" fmla="*/ 96697 w 572723"/>
                <a:gd name="connsiteY170" fmla="*/ 70606 h 606061"/>
                <a:gd name="connsiteX171" fmla="*/ 83659 w 572723"/>
                <a:gd name="connsiteY171" fmla="*/ 86650 h 606061"/>
                <a:gd name="connsiteX172" fmla="*/ 81653 w 572723"/>
                <a:gd name="connsiteY172" fmla="*/ 90661 h 606061"/>
                <a:gd name="connsiteX173" fmla="*/ 61595 w 572723"/>
                <a:gd name="connsiteY173" fmla="*/ 114726 h 606061"/>
                <a:gd name="connsiteX174" fmla="*/ 64603 w 572723"/>
                <a:gd name="connsiteY174" fmla="*/ 115729 h 606061"/>
                <a:gd name="connsiteX175" fmla="*/ 59589 w 572723"/>
                <a:gd name="connsiteY175" fmla="*/ 123751 h 606061"/>
                <a:gd name="connsiteX176" fmla="*/ 54574 w 572723"/>
                <a:gd name="connsiteY176" fmla="*/ 125756 h 606061"/>
                <a:gd name="connsiteX177" fmla="*/ 49559 w 572723"/>
                <a:gd name="connsiteY177" fmla="*/ 126759 h 606061"/>
                <a:gd name="connsiteX178" fmla="*/ 43542 w 572723"/>
                <a:gd name="connsiteY178" fmla="*/ 138792 h 606061"/>
                <a:gd name="connsiteX179" fmla="*/ 42539 w 572723"/>
                <a:gd name="connsiteY179" fmla="*/ 146813 h 606061"/>
                <a:gd name="connsiteX180" fmla="*/ 34515 w 572723"/>
                <a:gd name="connsiteY180" fmla="*/ 158846 h 606061"/>
                <a:gd name="connsiteX181" fmla="*/ 32509 w 572723"/>
                <a:gd name="connsiteY181" fmla="*/ 156841 h 606061"/>
                <a:gd name="connsiteX182" fmla="*/ 22480 w 572723"/>
                <a:gd name="connsiteY182" fmla="*/ 175892 h 606061"/>
                <a:gd name="connsiteX183" fmla="*/ 19471 w 572723"/>
                <a:gd name="connsiteY183" fmla="*/ 196950 h 606061"/>
                <a:gd name="connsiteX184" fmla="*/ 17465 w 572723"/>
                <a:gd name="connsiteY184" fmla="*/ 204971 h 606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6061">
                  <a:moveTo>
                    <a:pt x="17465" y="204971"/>
                  </a:moveTo>
                  <a:lnTo>
                    <a:pt x="15460" y="211990"/>
                  </a:lnTo>
                  <a:cubicBezTo>
                    <a:pt x="20474" y="187925"/>
                    <a:pt x="29501" y="163860"/>
                    <a:pt x="40533" y="140797"/>
                  </a:cubicBezTo>
                  <a:cubicBezTo>
                    <a:pt x="25489" y="163860"/>
                    <a:pt x="12451" y="192939"/>
                    <a:pt x="6433" y="221015"/>
                  </a:cubicBezTo>
                  <a:cubicBezTo>
                    <a:pt x="415" y="249091"/>
                    <a:pt x="1418" y="277168"/>
                    <a:pt x="8439" y="298225"/>
                  </a:cubicBezTo>
                  <a:cubicBezTo>
                    <a:pt x="4427" y="300230"/>
                    <a:pt x="1418" y="315271"/>
                    <a:pt x="415" y="329309"/>
                  </a:cubicBezTo>
                  <a:cubicBezTo>
                    <a:pt x="-588" y="343348"/>
                    <a:pt x="415" y="357386"/>
                    <a:pt x="1418" y="357386"/>
                  </a:cubicBezTo>
                  <a:cubicBezTo>
                    <a:pt x="4427" y="368416"/>
                    <a:pt x="7436" y="379446"/>
                    <a:pt x="10445" y="390476"/>
                  </a:cubicBezTo>
                  <a:cubicBezTo>
                    <a:pt x="8439" y="382454"/>
                    <a:pt x="6433" y="375435"/>
                    <a:pt x="4427" y="367413"/>
                  </a:cubicBezTo>
                  <a:cubicBezTo>
                    <a:pt x="6433" y="374432"/>
                    <a:pt x="8439" y="382454"/>
                    <a:pt x="10445" y="390476"/>
                  </a:cubicBezTo>
                  <a:cubicBezTo>
                    <a:pt x="15460" y="407522"/>
                    <a:pt x="21477" y="425571"/>
                    <a:pt x="29501" y="443620"/>
                  </a:cubicBezTo>
                  <a:cubicBezTo>
                    <a:pt x="37524" y="461669"/>
                    <a:pt x="47553" y="478716"/>
                    <a:pt x="60592" y="494759"/>
                  </a:cubicBezTo>
                  <a:cubicBezTo>
                    <a:pt x="86668" y="525844"/>
                    <a:pt x="120768" y="549909"/>
                    <a:pt x="156874" y="567958"/>
                  </a:cubicBezTo>
                  <a:cubicBezTo>
                    <a:pt x="176932" y="577985"/>
                    <a:pt x="216047" y="592024"/>
                    <a:pt x="257167" y="599043"/>
                  </a:cubicBezTo>
                  <a:cubicBezTo>
                    <a:pt x="278229" y="603054"/>
                    <a:pt x="299291" y="605059"/>
                    <a:pt x="317344" y="606062"/>
                  </a:cubicBezTo>
                  <a:cubicBezTo>
                    <a:pt x="336399" y="606062"/>
                    <a:pt x="353449" y="606062"/>
                    <a:pt x="364481" y="605059"/>
                  </a:cubicBezTo>
                  <a:cubicBezTo>
                    <a:pt x="371502" y="604056"/>
                    <a:pt x="378522" y="604056"/>
                    <a:pt x="385543" y="602051"/>
                  </a:cubicBezTo>
                  <a:cubicBezTo>
                    <a:pt x="373508" y="604056"/>
                    <a:pt x="373508" y="603054"/>
                    <a:pt x="362476" y="604056"/>
                  </a:cubicBezTo>
                  <a:cubicBezTo>
                    <a:pt x="390558" y="598040"/>
                    <a:pt x="415631" y="589015"/>
                    <a:pt x="438699" y="576983"/>
                  </a:cubicBezTo>
                  <a:cubicBezTo>
                    <a:pt x="433684" y="577985"/>
                    <a:pt x="432681" y="576983"/>
                    <a:pt x="422652" y="578988"/>
                  </a:cubicBezTo>
                  <a:cubicBezTo>
                    <a:pt x="426664" y="577985"/>
                    <a:pt x="430675" y="576983"/>
                    <a:pt x="434687" y="574977"/>
                  </a:cubicBezTo>
                  <a:cubicBezTo>
                    <a:pt x="444716" y="567958"/>
                    <a:pt x="467784" y="553920"/>
                    <a:pt x="476810" y="544896"/>
                  </a:cubicBezTo>
                  <a:cubicBezTo>
                    <a:pt x="475807" y="547904"/>
                    <a:pt x="483831" y="541887"/>
                    <a:pt x="490852" y="535871"/>
                  </a:cubicBezTo>
                  <a:lnTo>
                    <a:pt x="487843" y="536874"/>
                  </a:lnTo>
                  <a:cubicBezTo>
                    <a:pt x="500881" y="525844"/>
                    <a:pt x="512916" y="511806"/>
                    <a:pt x="521943" y="496765"/>
                  </a:cubicBezTo>
                  <a:cubicBezTo>
                    <a:pt x="530969" y="481724"/>
                    <a:pt x="537990" y="465680"/>
                    <a:pt x="543004" y="452645"/>
                  </a:cubicBezTo>
                  <a:cubicBezTo>
                    <a:pt x="544007" y="448634"/>
                    <a:pt x="546013" y="446628"/>
                    <a:pt x="547016" y="444623"/>
                  </a:cubicBezTo>
                  <a:cubicBezTo>
                    <a:pt x="549022" y="435598"/>
                    <a:pt x="552031" y="426574"/>
                    <a:pt x="553034" y="417549"/>
                  </a:cubicBezTo>
                  <a:cubicBezTo>
                    <a:pt x="555039" y="420557"/>
                    <a:pt x="560054" y="395489"/>
                    <a:pt x="559051" y="409528"/>
                  </a:cubicBezTo>
                  <a:cubicBezTo>
                    <a:pt x="561057" y="388470"/>
                    <a:pt x="566072" y="369418"/>
                    <a:pt x="566072" y="350367"/>
                  </a:cubicBezTo>
                  <a:cubicBezTo>
                    <a:pt x="571086" y="317277"/>
                    <a:pt x="575098" y="281179"/>
                    <a:pt x="571086" y="244078"/>
                  </a:cubicBezTo>
                  <a:cubicBezTo>
                    <a:pt x="567075" y="206977"/>
                    <a:pt x="552031" y="169876"/>
                    <a:pt x="528963" y="142802"/>
                  </a:cubicBezTo>
                  <a:lnTo>
                    <a:pt x="528963" y="144808"/>
                  </a:lnTo>
                  <a:cubicBezTo>
                    <a:pt x="512916" y="125756"/>
                    <a:pt x="493860" y="112721"/>
                    <a:pt x="469790" y="94672"/>
                  </a:cubicBezTo>
                  <a:cubicBezTo>
                    <a:pt x="459760" y="89658"/>
                    <a:pt x="447725" y="84644"/>
                    <a:pt x="437696" y="81636"/>
                  </a:cubicBezTo>
                  <a:cubicBezTo>
                    <a:pt x="432681" y="79631"/>
                    <a:pt x="427667" y="78628"/>
                    <a:pt x="422652" y="78628"/>
                  </a:cubicBezTo>
                  <a:cubicBezTo>
                    <a:pt x="418640" y="78628"/>
                    <a:pt x="414628" y="77625"/>
                    <a:pt x="412623" y="78628"/>
                  </a:cubicBezTo>
                  <a:cubicBezTo>
                    <a:pt x="406605" y="77625"/>
                    <a:pt x="401590" y="76623"/>
                    <a:pt x="397579" y="75620"/>
                  </a:cubicBezTo>
                  <a:cubicBezTo>
                    <a:pt x="392564" y="75620"/>
                    <a:pt x="388552" y="74617"/>
                    <a:pt x="384540" y="74617"/>
                  </a:cubicBezTo>
                  <a:cubicBezTo>
                    <a:pt x="380528" y="74617"/>
                    <a:pt x="376517" y="74617"/>
                    <a:pt x="372505" y="74617"/>
                  </a:cubicBezTo>
                  <a:cubicBezTo>
                    <a:pt x="368493" y="74617"/>
                    <a:pt x="363478" y="74617"/>
                    <a:pt x="357461" y="75620"/>
                  </a:cubicBezTo>
                  <a:cubicBezTo>
                    <a:pt x="360470" y="76623"/>
                    <a:pt x="355455" y="77625"/>
                    <a:pt x="350440" y="78628"/>
                  </a:cubicBezTo>
                  <a:cubicBezTo>
                    <a:pt x="346429" y="79631"/>
                    <a:pt x="341414" y="80633"/>
                    <a:pt x="347432" y="80633"/>
                  </a:cubicBezTo>
                  <a:cubicBezTo>
                    <a:pt x="361473" y="83642"/>
                    <a:pt x="362476" y="80633"/>
                    <a:pt x="374511" y="83642"/>
                  </a:cubicBezTo>
                  <a:lnTo>
                    <a:pt x="374511" y="82639"/>
                  </a:lnTo>
                  <a:cubicBezTo>
                    <a:pt x="402593" y="86650"/>
                    <a:pt x="428669" y="97680"/>
                    <a:pt x="451737" y="113723"/>
                  </a:cubicBezTo>
                  <a:cubicBezTo>
                    <a:pt x="474804" y="129767"/>
                    <a:pt x="494863" y="149822"/>
                    <a:pt x="507902" y="173887"/>
                  </a:cubicBezTo>
                  <a:cubicBezTo>
                    <a:pt x="518934" y="188928"/>
                    <a:pt x="525954" y="206977"/>
                    <a:pt x="528963" y="226029"/>
                  </a:cubicBezTo>
                  <a:cubicBezTo>
                    <a:pt x="532975" y="245080"/>
                    <a:pt x="532975" y="266138"/>
                    <a:pt x="531972" y="286192"/>
                  </a:cubicBezTo>
                  <a:cubicBezTo>
                    <a:pt x="530969" y="308252"/>
                    <a:pt x="527960" y="332318"/>
                    <a:pt x="524951" y="355380"/>
                  </a:cubicBezTo>
                  <a:cubicBezTo>
                    <a:pt x="521943" y="378443"/>
                    <a:pt x="518934" y="400503"/>
                    <a:pt x="513919" y="418552"/>
                  </a:cubicBezTo>
                  <a:cubicBezTo>
                    <a:pt x="511913" y="427577"/>
                    <a:pt x="507902" y="432590"/>
                    <a:pt x="503890" y="439609"/>
                  </a:cubicBezTo>
                  <a:cubicBezTo>
                    <a:pt x="497872" y="455653"/>
                    <a:pt x="489849" y="472699"/>
                    <a:pt x="477813" y="487740"/>
                  </a:cubicBezTo>
                  <a:cubicBezTo>
                    <a:pt x="465778" y="502781"/>
                    <a:pt x="450734" y="515816"/>
                    <a:pt x="434687" y="525844"/>
                  </a:cubicBezTo>
                  <a:cubicBezTo>
                    <a:pt x="435690" y="525844"/>
                    <a:pt x="435690" y="524841"/>
                    <a:pt x="436693" y="524841"/>
                  </a:cubicBezTo>
                  <a:cubicBezTo>
                    <a:pt x="419643" y="534868"/>
                    <a:pt x="404599" y="538879"/>
                    <a:pt x="385543" y="543893"/>
                  </a:cubicBezTo>
                  <a:cubicBezTo>
                    <a:pt x="385543" y="544896"/>
                    <a:pt x="382534" y="545898"/>
                    <a:pt x="381531" y="545898"/>
                  </a:cubicBezTo>
                  <a:cubicBezTo>
                    <a:pt x="380528" y="544896"/>
                    <a:pt x="372505" y="546901"/>
                    <a:pt x="361473" y="548906"/>
                  </a:cubicBezTo>
                  <a:cubicBezTo>
                    <a:pt x="350440" y="550912"/>
                    <a:pt x="335396" y="552917"/>
                    <a:pt x="320352" y="554923"/>
                  </a:cubicBezTo>
                  <a:cubicBezTo>
                    <a:pt x="289261" y="556928"/>
                    <a:pt x="257167" y="553920"/>
                    <a:pt x="254158" y="551915"/>
                  </a:cubicBezTo>
                  <a:cubicBezTo>
                    <a:pt x="252153" y="551915"/>
                    <a:pt x="250147" y="550912"/>
                    <a:pt x="247138" y="550912"/>
                  </a:cubicBezTo>
                  <a:cubicBezTo>
                    <a:pt x="226076" y="545898"/>
                    <a:pt x="204012" y="537876"/>
                    <a:pt x="184956" y="527849"/>
                  </a:cubicBezTo>
                  <a:cubicBezTo>
                    <a:pt x="165900" y="518825"/>
                    <a:pt x="148850" y="507795"/>
                    <a:pt x="133806" y="498770"/>
                  </a:cubicBezTo>
                  <a:cubicBezTo>
                    <a:pt x="126786" y="495762"/>
                    <a:pt x="118762" y="491751"/>
                    <a:pt x="112744" y="488743"/>
                  </a:cubicBezTo>
                  <a:cubicBezTo>
                    <a:pt x="108733" y="483729"/>
                    <a:pt x="105724" y="484732"/>
                    <a:pt x="100709" y="478716"/>
                  </a:cubicBezTo>
                  <a:cubicBezTo>
                    <a:pt x="91683" y="460667"/>
                    <a:pt x="84662" y="452645"/>
                    <a:pt x="87671" y="462672"/>
                  </a:cubicBezTo>
                  <a:cubicBezTo>
                    <a:pt x="76639" y="450639"/>
                    <a:pt x="69618" y="436601"/>
                    <a:pt x="64603" y="423566"/>
                  </a:cubicBezTo>
                  <a:cubicBezTo>
                    <a:pt x="61595" y="417549"/>
                    <a:pt x="58586" y="411533"/>
                    <a:pt x="56580" y="405517"/>
                  </a:cubicBezTo>
                  <a:cubicBezTo>
                    <a:pt x="54574" y="400503"/>
                    <a:pt x="54574" y="396492"/>
                    <a:pt x="55577" y="393484"/>
                  </a:cubicBezTo>
                  <a:cubicBezTo>
                    <a:pt x="51565" y="379446"/>
                    <a:pt x="53571" y="383457"/>
                    <a:pt x="51565" y="367413"/>
                  </a:cubicBezTo>
                  <a:cubicBezTo>
                    <a:pt x="52568" y="365408"/>
                    <a:pt x="49559" y="355380"/>
                    <a:pt x="47553" y="345353"/>
                  </a:cubicBezTo>
                  <a:cubicBezTo>
                    <a:pt x="45548" y="335326"/>
                    <a:pt x="43542" y="325299"/>
                    <a:pt x="43542" y="323293"/>
                  </a:cubicBezTo>
                  <a:lnTo>
                    <a:pt x="43542" y="326301"/>
                  </a:lnTo>
                  <a:cubicBezTo>
                    <a:pt x="42539" y="307249"/>
                    <a:pt x="47553" y="295217"/>
                    <a:pt x="48556" y="278170"/>
                  </a:cubicBezTo>
                  <a:cubicBezTo>
                    <a:pt x="50562" y="253102"/>
                    <a:pt x="54574" y="228034"/>
                    <a:pt x="61595" y="203969"/>
                  </a:cubicBezTo>
                  <a:cubicBezTo>
                    <a:pt x="67612" y="179903"/>
                    <a:pt x="77641" y="156841"/>
                    <a:pt x="89677" y="137789"/>
                  </a:cubicBezTo>
                  <a:cubicBezTo>
                    <a:pt x="87671" y="135783"/>
                    <a:pt x="85665" y="146813"/>
                    <a:pt x="82656" y="145811"/>
                  </a:cubicBezTo>
                  <a:cubicBezTo>
                    <a:pt x="95694" y="121745"/>
                    <a:pt x="113747" y="102693"/>
                    <a:pt x="132803" y="85647"/>
                  </a:cubicBezTo>
                  <a:cubicBezTo>
                    <a:pt x="136815" y="82639"/>
                    <a:pt x="141830" y="80633"/>
                    <a:pt x="143835" y="79631"/>
                  </a:cubicBezTo>
                  <a:cubicBezTo>
                    <a:pt x="150856" y="74617"/>
                    <a:pt x="146844" y="75620"/>
                    <a:pt x="151859" y="72612"/>
                  </a:cubicBezTo>
                  <a:lnTo>
                    <a:pt x="153865" y="73614"/>
                  </a:lnTo>
                  <a:cubicBezTo>
                    <a:pt x="159882" y="66595"/>
                    <a:pt x="165900" y="68601"/>
                    <a:pt x="171918" y="62584"/>
                  </a:cubicBezTo>
                  <a:cubicBezTo>
                    <a:pt x="171918" y="61582"/>
                    <a:pt x="173923" y="59576"/>
                    <a:pt x="176932" y="58573"/>
                  </a:cubicBezTo>
                  <a:cubicBezTo>
                    <a:pt x="177935" y="60579"/>
                    <a:pt x="184956" y="53560"/>
                    <a:pt x="184956" y="56568"/>
                  </a:cubicBezTo>
                  <a:lnTo>
                    <a:pt x="184956" y="56568"/>
                  </a:lnTo>
                  <a:cubicBezTo>
                    <a:pt x="186962" y="55565"/>
                    <a:pt x="187964" y="55565"/>
                    <a:pt x="189970" y="54563"/>
                  </a:cubicBezTo>
                  <a:cubicBezTo>
                    <a:pt x="190973" y="53560"/>
                    <a:pt x="197994" y="47543"/>
                    <a:pt x="206018" y="43533"/>
                  </a:cubicBezTo>
                  <a:cubicBezTo>
                    <a:pt x="213038" y="38519"/>
                    <a:pt x="221062" y="34508"/>
                    <a:pt x="223067" y="33505"/>
                  </a:cubicBezTo>
                  <a:lnTo>
                    <a:pt x="225073" y="33505"/>
                  </a:lnTo>
                  <a:cubicBezTo>
                    <a:pt x="230088" y="32503"/>
                    <a:pt x="231091" y="30497"/>
                    <a:pt x="228082" y="30497"/>
                  </a:cubicBezTo>
                  <a:lnTo>
                    <a:pt x="234100" y="29494"/>
                  </a:lnTo>
                  <a:lnTo>
                    <a:pt x="233097" y="29494"/>
                  </a:lnTo>
                  <a:lnTo>
                    <a:pt x="239114" y="28492"/>
                  </a:lnTo>
                  <a:cubicBezTo>
                    <a:pt x="240117" y="28492"/>
                    <a:pt x="241120" y="29494"/>
                    <a:pt x="240117" y="30497"/>
                  </a:cubicBezTo>
                  <a:cubicBezTo>
                    <a:pt x="243126" y="29494"/>
                    <a:pt x="247138" y="28492"/>
                    <a:pt x="250147" y="28492"/>
                  </a:cubicBezTo>
                  <a:cubicBezTo>
                    <a:pt x="241120" y="28492"/>
                    <a:pt x="229085" y="28492"/>
                    <a:pt x="219056" y="29494"/>
                  </a:cubicBezTo>
                  <a:cubicBezTo>
                    <a:pt x="223067" y="27489"/>
                    <a:pt x="230088" y="27489"/>
                    <a:pt x="234100" y="25483"/>
                  </a:cubicBezTo>
                  <a:cubicBezTo>
                    <a:pt x="237109" y="25483"/>
                    <a:pt x="241120" y="25483"/>
                    <a:pt x="245132" y="25483"/>
                  </a:cubicBezTo>
                  <a:cubicBezTo>
                    <a:pt x="249144" y="25483"/>
                    <a:pt x="254158" y="25483"/>
                    <a:pt x="258170" y="25483"/>
                  </a:cubicBezTo>
                  <a:cubicBezTo>
                    <a:pt x="260176" y="25483"/>
                    <a:pt x="261179" y="22475"/>
                    <a:pt x="265191" y="23478"/>
                  </a:cubicBezTo>
                  <a:cubicBezTo>
                    <a:pt x="267197" y="25483"/>
                    <a:pt x="270205" y="23478"/>
                    <a:pt x="273214" y="24481"/>
                  </a:cubicBezTo>
                  <a:cubicBezTo>
                    <a:pt x="269202" y="25483"/>
                    <a:pt x="265191" y="25483"/>
                    <a:pt x="261179" y="25483"/>
                  </a:cubicBezTo>
                  <a:cubicBezTo>
                    <a:pt x="261179" y="26486"/>
                    <a:pt x="264188" y="26486"/>
                    <a:pt x="266194" y="26486"/>
                  </a:cubicBezTo>
                  <a:cubicBezTo>
                    <a:pt x="269202" y="26486"/>
                    <a:pt x="272211" y="26486"/>
                    <a:pt x="273214" y="26486"/>
                  </a:cubicBezTo>
                  <a:cubicBezTo>
                    <a:pt x="274217" y="25483"/>
                    <a:pt x="282241" y="26486"/>
                    <a:pt x="287255" y="26486"/>
                  </a:cubicBezTo>
                  <a:cubicBezTo>
                    <a:pt x="285249" y="28492"/>
                    <a:pt x="291267" y="28492"/>
                    <a:pt x="293273" y="29494"/>
                  </a:cubicBezTo>
                  <a:cubicBezTo>
                    <a:pt x="296282" y="29494"/>
                    <a:pt x="298288" y="29494"/>
                    <a:pt x="297285" y="28492"/>
                  </a:cubicBezTo>
                  <a:cubicBezTo>
                    <a:pt x="298288" y="26486"/>
                    <a:pt x="285249" y="25483"/>
                    <a:pt x="289261" y="23478"/>
                  </a:cubicBezTo>
                  <a:cubicBezTo>
                    <a:pt x="290264" y="24481"/>
                    <a:pt x="296282" y="24481"/>
                    <a:pt x="300294" y="25483"/>
                  </a:cubicBezTo>
                  <a:cubicBezTo>
                    <a:pt x="300294" y="24481"/>
                    <a:pt x="298288" y="24481"/>
                    <a:pt x="300294" y="23478"/>
                  </a:cubicBezTo>
                  <a:cubicBezTo>
                    <a:pt x="304305" y="24481"/>
                    <a:pt x="308317" y="23478"/>
                    <a:pt x="310323" y="25483"/>
                  </a:cubicBezTo>
                  <a:cubicBezTo>
                    <a:pt x="309320" y="25483"/>
                    <a:pt x="308317" y="25483"/>
                    <a:pt x="307314" y="24481"/>
                  </a:cubicBezTo>
                  <a:cubicBezTo>
                    <a:pt x="309320" y="25483"/>
                    <a:pt x="302300" y="25483"/>
                    <a:pt x="296282" y="26486"/>
                  </a:cubicBezTo>
                  <a:cubicBezTo>
                    <a:pt x="289261" y="27489"/>
                    <a:pt x="283243" y="29494"/>
                    <a:pt x="286252" y="28492"/>
                  </a:cubicBezTo>
                  <a:cubicBezTo>
                    <a:pt x="285249" y="28492"/>
                    <a:pt x="292270" y="26486"/>
                    <a:pt x="299291" y="25483"/>
                  </a:cubicBezTo>
                  <a:cubicBezTo>
                    <a:pt x="306311" y="25483"/>
                    <a:pt x="313332" y="24481"/>
                    <a:pt x="311326" y="24481"/>
                  </a:cubicBezTo>
                  <a:cubicBezTo>
                    <a:pt x="308317" y="23478"/>
                    <a:pt x="314335" y="22475"/>
                    <a:pt x="311326" y="21473"/>
                  </a:cubicBezTo>
                  <a:lnTo>
                    <a:pt x="307314" y="22475"/>
                  </a:lnTo>
                  <a:cubicBezTo>
                    <a:pt x="303302" y="21473"/>
                    <a:pt x="302300" y="18464"/>
                    <a:pt x="303302" y="18464"/>
                  </a:cubicBezTo>
                  <a:cubicBezTo>
                    <a:pt x="307314" y="19467"/>
                    <a:pt x="301297" y="20470"/>
                    <a:pt x="296282" y="21473"/>
                  </a:cubicBezTo>
                  <a:cubicBezTo>
                    <a:pt x="291267" y="22475"/>
                    <a:pt x="285249" y="24481"/>
                    <a:pt x="288258" y="23478"/>
                  </a:cubicBezTo>
                  <a:lnTo>
                    <a:pt x="290264" y="24481"/>
                  </a:lnTo>
                  <a:cubicBezTo>
                    <a:pt x="293273" y="24481"/>
                    <a:pt x="300294" y="23478"/>
                    <a:pt x="302300" y="25483"/>
                  </a:cubicBezTo>
                  <a:cubicBezTo>
                    <a:pt x="302300" y="24481"/>
                    <a:pt x="306311" y="24481"/>
                    <a:pt x="309320" y="24481"/>
                  </a:cubicBezTo>
                  <a:lnTo>
                    <a:pt x="310323" y="24481"/>
                  </a:lnTo>
                  <a:cubicBezTo>
                    <a:pt x="313332" y="24481"/>
                    <a:pt x="317344" y="25483"/>
                    <a:pt x="316341" y="23478"/>
                  </a:cubicBezTo>
                  <a:cubicBezTo>
                    <a:pt x="307314" y="22475"/>
                    <a:pt x="311326" y="19467"/>
                    <a:pt x="314335" y="16459"/>
                  </a:cubicBezTo>
                  <a:cubicBezTo>
                    <a:pt x="318346" y="13451"/>
                    <a:pt x="322358" y="11445"/>
                    <a:pt x="313332" y="9440"/>
                  </a:cubicBezTo>
                  <a:cubicBezTo>
                    <a:pt x="320352" y="13451"/>
                    <a:pt x="310323" y="11445"/>
                    <a:pt x="302300" y="10443"/>
                  </a:cubicBezTo>
                  <a:cubicBezTo>
                    <a:pt x="301297" y="9440"/>
                    <a:pt x="298288" y="7434"/>
                    <a:pt x="292270" y="6432"/>
                  </a:cubicBezTo>
                  <a:cubicBezTo>
                    <a:pt x="287255" y="6432"/>
                    <a:pt x="289261" y="7434"/>
                    <a:pt x="288258" y="7434"/>
                  </a:cubicBezTo>
                  <a:cubicBezTo>
                    <a:pt x="285249" y="6432"/>
                    <a:pt x="280235" y="6432"/>
                    <a:pt x="281238" y="4426"/>
                  </a:cubicBezTo>
                  <a:cubicBezTo>
                    <a:pt x="277226" y="6432"/>
                    <a:pt x="275220" y="3424"/>
                    <a:pt x="270205" y="4426"/>
                  </a:cubicBezTo>
                  <a:cubicBezTo>
                    <a:pt x="266194" y="5429"/>
                    <a:pt x="270205" y="5429"/>
                    <a:pt x="267197" y="6432"/>
                  </a:cubicBezTo>
                  <a:cubicBezTo>
                    <a:pt x="261179" y="6432"/>
                    <a:pt x="252153" y="7434"/>
                    <a:pt x="247138" y="7434"/>
                  </a:cubicBezTo>
                  <a:cubicBezTo>
                    <a:pt x="245132" y="6432"/>
                    <a:pt x="239114" y="5429"/>
                    <a:pt x="243126" y="2421"/>
                  </a:cubicBezTo>
                  <a:cubicBezTo>
                    <a:pt x="253155" y="1418"/>
                    <a:pt x="240117" y="6432"/>
                    <a:pt x="250147" y="4426"/>
                  </a:cubicBezTo>
                  <a:cubicBezTo>
                    <a:pt x="245132" y="2421"/>
                    <a:pt x="259173" y="2421"/>
                    <a:pt x="260176" y="415"/>
                  </a:cubicBezTo>
                  <a:cubicBezTo>
                    <a:pt x="257167" y="-587"/>
                    <a:pt x="250147" y="415"/>
                    <a:pt x="245132" y="1418"/>
                  </a:cubicBezTo>
                  <a:lnTo>
                    <a:pt x="246135" y="1418"/>
                  </a:lnTo>
                  <a:cubicBezTo>
                    <a:pt x="241120" y="2421"/>
                    <a:pt x="232094" y="5429"/>
                    <a:pt x="226076" y="4426"/>
                  </a:cubicBezTo>
                  <a:cubicBezTo>
                    <a:pt x="227079" y="3424"/>
                    <a:pt x="225073" y="2421"/>
                    <a:pt x="228082" y="1418"/>
                  </a:cubicBezTo>
                  <a:lnTo>
                    <a:pt x="220059" y="4426"/>
                  </a:lnTo>
                  <a:cubicBezTo>
                    <a:pt x="219056" y="5429"/>
                    <a:pt x="218053" y="5429"/>
                    <a:pt x="220059" y="5429"/>
                  </a:cubicBezTo>
                  <a:cubicBezTo>
                    <a:pt x="217050" y="7434"/>
                    <a:pt x="214041" y="7434"/>
                    <a:pt x="211032" y="7434"/>
                  </a:cubicBezTo>
                  <a:cubicBezTo>
                    <a:pt x="210029" y="7434"/>
                    <a:pt x="202006" y="10443"/>
                    <a:pt x="194985" y="15456"/>
                  </a:cubicBezTo>
                  <a:cubicBezTo>
                    <a:pt x="186962" y="19467"/>
                    <a:pt x="179941" y="24481"/>
                    <a:pt x="180944" y="24481"/>
                  </a:cubicBezTo>
                  <a:cubicBezTo>
                    <a:pt x="176932" y="26486"/>
                    <a:pt x="174926" y="25483"/>
                    <a:pt x="170915" y="28492"/>
                  </a:cubicBezTo>
                  <a:cubicBezTo>
                    <a:pt x="170915" y="28492"/>
                    <a:pt x="172920" y="27489"/>
                    <a:pt x="176932" y="25483"/>
                  </a:cubicBezTo>
                  <a:cubicBezTo>
                    <a:pt x="180944" y="23478"/>
                    <a:pt x="184956" y="20470"/>
                    <a:pt x="189970" y="17462"/>
                  </a:cubicBezTo>
                  <a:cubicBezTo>
                    <a:pt x="194985" y="15456"/>
                    <a:pt x="198997" y="12448"/>
                    <a:pt x="203009" y="10443"/>
                  </a:cubicBezTo>
                  <a:cubicBezTo>
                    <a:pt x="206018" y="9440"/>
                    <a:pt x="208023" y="8437"/>
                    <a:pt x="206018" y="8437"/>
                  </a:cubicBezTo>
                  <a:cubicBezTo>
                    <a:pt x="205015" y="8437"/>
                    <a:pt x="201003" y="9440"/>
                    <a:pt x="195988" y="12448"/>
                  </a:cubicBezTo>
                  <a:cubicBezTo>
                    <a:pt x="190973" y="14454"/>
                    <a:pt x="184956" y="18464"/>
                    <a:pt x="178938" y="21473"/>
                  </a:cubicBezTo>
                  <a:cubicBezTo>
                    <a:pt x="172920" y="24481"/>
                    <a:pt x="167906" y="28492"/>
                    <a:pt x="162891" y="31500"/>
                  </a:cubicBezTo>
                  <a:cubicBezTo>
                    <a:pt x="158879" y="34508"/>
                    <a:pt x="155871" y="36513"/>
                    <a:pt x="154868" y="36513"/>
                  </a:cubicBezTo>
                  <a:cubicBezTo>
                    <a:pt x="151859" y="38519"/>
                    <a:pt x="148850" y="41527"/>
                    <a:pt x="149853" y="41527"/>
                  </a:cubicBezTo>
                  <a:cubicBezTo>
                    <a:pt x="144838" y="44535"/>
                    <a:pt x="149853" y="38519"/>
                    <a:pt x="145841" y="40524"/>
                  </a:cubicBezTo>
                  <a:cubicBezTo>
                    <a:pt x="145841" y="40524"/>
                    <a:pt x="146844" y="40524"/>
                    <a:pt x="144838" y="41527"/>
                  </a:cubicBezTo>
                  <a:cubicBezTo>
                    <a:pt x="143835" y="41527"/>
                    <a:pt x="141830" y="42530"/>
                    <a:pt x="140827" y="42530"/>
                  </a:cubicBezTo>
                  <a:cubicBezTo>
                    <a:pt x="137818" y="46541"/>
                    <a:pt x="132803" y="49549"/>
                    <a:pt x="127788" y="52557"/>
                  </a:cubicBezTo>
                  <a:cubicBezTo>
                    <a:pt x="123777" y="56568"/>
                    <a:pt x="118762" y="60579"/>
                    <a:pt x="115753" y="64590"/>
                  </a:cubicBezTo>
                  <a:cubicBezTo>
                    <a:pt x="116756" y="61582"/>
                    <a:pt x="117759" y="57571"/>
                    <a:pt x="121771" y="52557"/>
                  </a:cubicBezTo>
                  <a:lnTo>
                    <a:pt x="122774" y="52557"/>
                  </a:lnTo>
                  <a:cubicBezTo>
                    <a:pt x="122774" y="51554"/>
                    <a:pt x="126786" y="47543"/>
                    <a:pt x="125783" y="47543"/>
                  </a:cubicBezTo>
                  <a:cubicBezTo>
                    <a:pt x="120768" y="50552"/>
                    <a:pt x="116756" y="54563"/>
                    <a:pt x="112744" y="59576"/>
                  </a:cubicBezTo>
                  <a:cubicBezTo>
                    <a:pt x="111742" y="60579"/>
                    <a:pt x="110739" y="60579"/>
                    <a:pt x="109736" y="61582"/>
                  </a:cubicBezTo>
                  <a:cubicBezTo>
                    <a:pt x="109736" y="61582"/>
                    <a:pt x="109736" y="61582"/>
                    <a:pt x="109736" y="61582"/>
                  </a:cubicBezTo>
                  <a:cubicBezTo>
                    <a:pt x="107730" y="62584"/>
                    <a:pt x="107730" y="62584"/>
                    <a:pt x="107730" y="61582"/>
                  </a:cubicBezTo>
                  <a:cubicBezTo>
                    <a:pt x="107730" y="61582"/>
                    <a:pt x="107730" y="61582"/>
                    <a:pt x="107730" y="60579"/>
                  </a:cubicBezTo>
                  <a:cubicBezTo>
                    <a:pt x="104721" y="60579"/>
                    <a:pt x="101712" y="65593"/>
                    <a:pt x="96697" y="70606"/>
                  </a:cubicBezTo>
                  <a:cubicBezTo>
                    <a:pt x="92685" y="76623"/>
                    <a:pt x="87671" y="82639"/>
                    <a:pt x="83659" y="86650"/>
                  </a:cubicBezTo>
                  <a:cubicBezTo>
                    <a:pt x="81653" y="89658"/>
                    <a:pt x="83659" y="87652"/>
                    <a:pt x="81653" y="90661"/>
                  </a:cubicBezTo>
                  <a:cubicBezTo>
                    <a:pt x="73630" y="98682"/>
                    <a:pt x="68615" y="104699"/>
                    <a:pt x="61595" y="114726"/>
                  </a:cubicBezTo>
                  <a:cubicBezTo>
                    <a:pt x="60592" y="118737"/>
                    <a:pt x="61595" y="119740"/>
                    <a:pt x="64603" y="115729"/>
                  </a:cubicBezTo>
                  <a:lnTo>
                    <a:pt x="59589" y="123751"/>
                  </a:lnTo>
                  <a:cubicBezTo>
                    <a:pt x="59589" y="119740"/>
                    <a:pt x="56580" y="122748"/>
                    <a:pt x="54574" y="125756"/>
                  </a:cubicBezTo>
                  <a:cubicBezTo>
                    <a:pt x="51565" y="128764"/>
                    <a:pt x="49559" y="131772"/>
                    <a:pt x="49559" y="126759"/>
                  </a:cubicBezTo>
                  <a:cubicBezTo>
                    <a:pt x="47553" y="128764"/>
                    <a:pt x="44545" y="133778"/>
                    <a:pt x="43542" y="138792"/>
                  </a:cubicBezTo>
                  <a:cubicBezTo>
                    <a:pt x="44545" y="139794"/>
                    <a:pt x="45548" y="140797"/>
                    <a:pt x="42539" y="146813"/>
                  </a:cubicBezTo>
                  <a:cubicBezTo>
                    <a:pt x="37524" y="154835"/>
                    <a:pt x="38527" y="152830"/>
                    <a:pt x="34515" y="158846"/>
                  </a:cubicBezTo>
                  <a:cubicBezTo>
                    <a:pt x="32509" y="159849"/>
                    <a:pt x="33512" y="156841"/>
                    <a:pt x="32509" y="156841"/>
                  </a:cubicBezTo>
                  <a:cubicBezTo>
                    <a:pt x="30504" y="167871"/>
                    <a:pt x="26492" y="164862"/>
                    <a:pt x="22480" y="175892"/>
                  </a:cubicBezTo>
                  <a:cubicBezTo>
                    <a:pt x="20474" y="182911"/>
                    <a:pt x="17465" y="195947"/>
                    <a:pt x="19471" y="196950"/>
                  </a:cubicBezTo>
                  <a:cubicBezTo>
                    <a:pt x="20474" y="206977"/>
                    <a:pt x="19471" y="205974"/>
                    <a:pt x="17465" y="204971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9EE11248-F3BF-864C-A177-EBFB23D8503C}"/>
              </a:ext>
            </a:extLst>
          </p:cNvPr>
          <p:cNvGrpSpPr/>
          <p:nvPr userDrawn="1"/>
        </p:nvGrpSpPr>
        <p:grpSpPr>
          <a:xfrm>
            <a:off x="1308674" y="3024887"/>
            <a:ext cx="592351" cy="906402"/>
            <a:chOff x="2203157" y="4098931"/>
            <a:chExt cx="592351" cy="906402"/>
          </a:xfrm>
        </p:grpSpPr>
        <p:sp>
          <p:nvSpPr>
            <p:cNvPr id="13" name="Tekstfelt 12">
              <a:extLst>
                <a:ext uri="{FF2B5EF4-FFF2-40B4-BE49-F238E27FC236}">
                  <a16:creationId xmlns:a16="http://schemas.microsoft.com/office/drawing/2014/main" id="{79CFF0CC-1C59-7142-A8CC-AF4FDFDE936E}"/>
                </a:ext>
              </a:extLst>
            </p:cNvPr>
            <p:cNvSpPr txBox="1"/>
            <p:nvPr/>
          </p:nvSpPr>
          <p:spPr>
            <a:xfrm>
              <a:off x="2267799" y="4098931"/>
              <a:ext cx="527709" cy="9064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290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2</a:t>
              </a:r>
            </a:p>
          </p:txBody>
        </p:sp>
        <p:sp>
          <p:nvSpPr>
            <p:cNvPr id="19" name="Kombinationstegning 18">
              <a:extLst>
                <a:ext uri="{FF2B5EF4-FFF2-40B4-BE49-F238E27FC236}">
                  <a16:creationId xmlns:a16="http://schemas.microsoft.com/office/drawing/2014/main" id="{98186A7F-E04F-A344-8C97-E1F4020EE1C7}"/>
                </a:ext>
              </a:extLst>
            </p:cNvPr>
            <p:cNvSpPr/>
            <p:nvPr/>
          </p:nvSpPr>
          <p:spPr>
            <a:xfrm>
              <a:off x="2203157" y="4178700"/>
              <a:ext cx="572724" cy="608067"/>
            </a:xfrm>
            <a:custGeom>
              <a:avLst/>
              <a:gdLst>
                <a:gd name="connsiteX0" fmla="*/ 17465 w 572724"/>
                <a:gd name="connsiteY0" fmla="*/ 206977 h 608067"/>
                <a:gd name="connsiteX1" fmla="*/ 15460 w 572724"/>
                <a:gd name="connsiteY1" fmla="*/ 213996 h 608067"/>
                <a:gd name="connsiteX2" fmla="*/ 40533 w 572724"/>
                <a:gd name="connsiteY2" fmla="*/ 142802 h 608067"/>
                <a:gd name="connsiteX3" fmla="*/ 6433 w 572724"/>
                <a:gd name="connsiteY3" fmla="*/ 223021 h 608067"/>
                <a:gd name="connsiteX4" fmla="*/ 8439 w 572724"/>
                <a:gd name="connsiteY4" fmla="*/ 300230 h 608067"/>
                <a:gd name="connsiteX5" fmla="*/ 415 w 572724"/>
                <a:gd name="connsiteY5" fmla="*/ 331315 h 608067"/>
                <a:gd name="connsiteX6" fmla="*/ 1418 w 572724"/>
                <a:gd name="connsiteY6" fmla="*/ 359391 h 608067"/>
                <a:gd name="connsiteX7" fmla="*/ 10445 w 572724"/>
                <a:gd name="connsiteY7" fmla="*/ 392481 h 608067"/>
                <a:gd name="connsiteX8" fmla="*/ 4427 w 572724"/>
                <a:gd name="connsiteY8" fmla="*/ 369418 h 608067"/>
                <a:gd name="connsiteX9" fmla="*/ 10445 w 572724"/>
                <a:gd name="connsiteY9" fmla="*/ 392481 h 608067"/>
                <a:gd name="connsiteX10" fmla="*/ 29501 w 572724"/>
                <a:gd name="connsiteY10" fmla="*/ 445626 h 608067"/>
                <a:gd name="connsiteX11" fmla="*/ 60592 w 572724"/>
                <a:gd name="connsiteY11" fmla="*/ 496765 h 608067"/>
                <a:gd name="connsiteX12" fmla="*/ 156874 w 572724"/>
                <a:gd name="connsiteY12" fmla="*/ 569964 h 608067"/>
                <a:gd name="connsiteX13" fmla="*/ 257167 w 572724"/>
                <a:gd name="connsiteY13" fmla="*/ 601048 h 608067"/>
                <a:gd name="connsiteX14" fmla="*/ 317343 w 572724"/>
                <a:gd name="connsiteY14" fmla="*/ 608067 h 608067"/>
                <a:gd name="connsiteX15" fmla="*/ 364482 w 572724"/>
                <a:gd name="connsiteY15" fmla="*/ 607064 h 608067"/>
                <a:gd name="connsiteX16" fmla="*/ 385543 w 572724"/>
                <a:gd name="connsiteY16" fmla="*/ 604056 h 608067"/>
                <a:gd name="connsiteX17" fmla="*/ 362476 w 572724"/>
                <a:gd name="connsiteY17" fmla="*/ 606062 h 608067"/>
                <a:gd name="connsiteX18" fmla="*/ 438699 w 572724"/>
                <a:gd name="connsiteY18" fmla="*/ 578988 h 608067"/>
                <a:gd name="connsiteX19" fmla="*/ 422652 w 572724"/>
                <a:gd name="connsiteY19" fmla="*/ 580994 h 608067"/>
                <a:gd name="connsiteX20" fmla="*/ 434687 w 572724"/>
                <a:gd name="connsiteY20" fmla="*/ 576983 h 608067"/>
                <a:gd name="connsiteX21" fmla="*/ 476810 w 572724"/>
                <a:gd name="connsiteY21" fmla="*/ 546901 h 608067"/>
                <a:gd name="connsiteX22" fmla="*/ 490852 w 572724"/>
                <a:gd name="connsiteY22" fmla="*/ 537876 h 608067"/>
                <a:gd name="connsiteX23" fmla="*/ 487843 w 572724"/>
                <a:gd name="connsiteY23" fmla="*/ 538879 h 608067"/>
                <a:gd name="connsiteX24" fmla="*/ 521942 w 572724"/>
                <a:gd name="connsiteY24" fmla="*/ 498770 h 608067"/>
                <a:gd name="connsiteX25" fmla="*/ 543004 w 572724"/>
                <a:gd name="connsiteY25" fmla="*/ 454650 h 608067"/>
                <a:gd name="connsiteX26" fmla="*/ 547016 w 572724"/>
                <a:gd name="connsiteY26" fmla="*/ 446628 h 608067"/>
                <a:gd name="connsiteX27" fmla="*/ 553034 w 572724"/>
                <a:gd name="connsiteY27" fmla="*/ 419555 h 608067"/>
                <a:gd name="connsiteX28" fmla="*/ 559051 w 572724"/>
                <a:gd name="connsiteY28" fmla="*/ 411533 h 608067"/>
                <a:gd name="connsiteX29" fmla="*/ 566072 w 572724"/>
                <a:gd name="connsiteY29" fmla="*/ 352372 h 608067"/>
                <a:gd name="connsiteX30" fmla="*/ 571087 w 572724"/>
                <a:gd name="connsiteY30" fmla="*/ 246083 h 608067"/>
                <a:gd name="connsiteX31" fmla="*/ 528963 w 572724"/>
                <a:gd name="connsiteY31" fmla="*/ 144808 h 608067"/>
                <a:gd name="connsiteX32" fmla="*/ 528963 w 572724"/>
                <a:gd name="connsiteY32" fmla="*/ 146813 h 608067"/>
                <a:gd name="connsiteX33" fmla="*/ 469790 w 572724"/>
                <a:gd name="connsiteY33" fmla="*/ 96677 h 608067"/>
                <a:gd name="connsiteX34" fmla="*/ 437696 w 572724"/>
                <a:gd name="connsiteY34" fmla="*/ 83642 h 608067"/>
                <a:gd name="connsiteX35" fmla="*/ 422652 w 572724"/>
                <a:gd name="connsiteY35" fmla="*/ 80633 h 608067"/>
                <a:gd name="connsiteX36" fmla="*/ 412622 w 572724"/>
                <a:gd name="connsiteY36" fmla="*/ 80633 h 608067"/>
                <a:gd name="connsiteX37" fmla="*/ 397578 w 572724"/>
                <a:gd name="connsiteY37" fmla="*/ 77625 h 608067"/>
                <a:gd name="connsiteX38" fmla="*/ 384540 w 572724"/>
                <a:gd name="connsiteY38" fmla="*/ 76623 h 608067"/>
                <a:gd name="connsiteX39" fmla="*/ 372505 w 572724"/>
                <a:gd name="connsiteY39" fmla="*/ 76623 h 608067"/>
                <a:gd name="connsiteX40" fmla="*/ 357461 w 572724"/>
                <a:gd name="connsiteY40" fmla="*/ 77625 h 608067"/>
                <a:gd name="connsiteX41" fmla="*/ 350440 w 572724"/>
                <a:gd name="connsiteY41" fmla="*/ 80633 h 608067"/>
                <a:gd name="connsiteX42" fmla="*/ 347432 w 572724"/>
                <a:gd name="connsiteY42" fmla="*/ 82639 h 608067"/>
                <a:gd name="connsiteX43" fmla="*/ 374511 w 572724"/>
                <a:gd name="connsiteY43" fmla="*/ 85647 h 608067"/>
                <a:gd name="connsiteX44" fmla="*/ 374511 w 572724"/>
                <a:gd name="connsiteY44" fmla="*/ 84644 h 608067"/>
                <a:gd name="connsiteX45" fmla="*/ 451737 w 572724"/>
                <a:gd name="connsiteY45" fmla="*/ 115729 h 608067"/>
                <a:gd name="connsiteX46" fmla="*/ 507901 w 572724"/>
                <a:gd name="connsiteY46" fmla="*/ 175892 h 608067"/>
                <a:gd name="connsiteX47" fmla="*/ 528963 w 572724"/>
                <a:gd name="connsiteY47" fmla="*/ 228034 h 608067"/>
                <a:gd name="connsiteX48" fmla="*/ 531972 w 572724"/>
                <a:gd name="connsiteY48" fmla="*/ 288198 h 608067"/>
                <a:gd name="connsiteX49" fmla="*/ 524951 w 572724"/>
                <a:gd name="connsiteY49" fmla="*/ 357386 h 608067"/>
                <a:gd name="connsiteX50" fmla="*/ 513919 w 572724"/>
                <a:gd name="connsiteY50" fmla="*/ 420557 h 608067"/>
                <a:gd name="connsiteX51" fmla="*/ 503890 w 572724"/>
                <a:gd name="connsiteY51" fmla="*/ 441615 h 608067"/>
                <a:gd name="connsiteX52" fmla="*/ 477813 w 572724"/>
                <a:gd name="connsiteY52" fmla="*/ 489746 h 608067"/>
                <a:gd name="connsiteX53" fmla="*/ 434687 w 572724"/>
                <a:gd name="connsiteY53" fmla="*/ 527849 h 608067"/>
                <a:gd name="connsiteX54" fmla="*/ 436693 w 572724"/>
                <a:gd name="connsiteY54" fmla="*/ 526846 h 608067"/>
                <a:gd name="connsiteX55" fmla="*/ 385543 w 572724"/>
                <a:gd name="connsiteY55" fmla="*/ 545898 h 608067"/>
                <a:gd name="connsiteX56" fmla="*/ 381531 w 572724"/>
                <a:gd name="connsiteY56" fmla="*/ 547904 h 608067"/>
                <a:gd name="connsiteX57" fmla="*/ 361473 w 572724"/>
                <a:gd name="connsiteY57" fmla="*/ 550912 h 608067"/>
                <a:gd name="connsiteX58" fmla="*/ 320352 w 572724"/>
                <a:gd name="connsiteY58" fmla="*/ 556928 h 608067"/>
                <a:gd name="connsiteX59" fmla="*/ 254159 w 572724"/>
                <a:gd name="connsiteY59" fmla="*/ 553920 h 608067"/>
                <a:gd name="connsiteX60" fmla="*/ 247138 w 572724"/>
                <a:gd name="connsiteY60" fmla="*/ 552917 h 608067"/>
                <a:gd name="connsiteX61" fmla="*/ 184956 w 572724"/>
                <a:gd name="connsiteY61" fmla="*/ 529855 h 608067"/>
                <a:gd name="connsiteX62" fmla="*/ 133806 w 572724"/>
                <a:gd name="connsiteY62" fmla="*/ 500776 h 608067"/>
                <a:gd name="connsiteX63" fmla="*/ 112744 w 572724"/>
                <a:gd name="connsiteY63" fmla="*/ 490748 h 608067"/>
                <a:gd name="connsiteX64" fmla="*/ 100709 w 572724"/>
                <a:gd name="connsiteY64" fmla="*/ 480721 h 608067"/>
                <a:gd name="connsiteX65" fmla="*/ 87671 w 572724"/>
                <a:gd name="connsiteY65" fmla="*/ 464677 h 608067"/>
                <a:gd name="connsiteX66" fmla="*/ 64603 w 572724"/>
                <a:gd name="connsiteY66" fmla="*/ 425571 h 608067"/>
                <a:gd name="connsiteX67" fmla="*/ 56580 w 572724"/>
                <a:gd name="connsiteY67" fmla="*/ 407522 h 608067"/>
                <a:gd name="connsiteX68" fmla="*/ 55577 w 572724"/>
                <a:gd name="connsiteY68" fmla="*/ 395489 h 608067"/>
                <a:gd name="connsiteX69" fmla="*/ 51565 w 572724"/>
                <a:gd name="connsiteY69" fmla="*/ 369418 h 608067"/>
                <a:gd name="connsiteX70" fmla="*/ 47553 w 572724"/>
                <a:gd name="connsiteY70" fmla="*/ 347358 h 608067"/>
                <a:gd name="connsiteX71" fmla="*/ 43542 w 572724"/>
                <a:gd name="connsiteY71" fmla="*/ 325299 h 608067"/>
                <a:gd name="connsiteX72" fmla="*/ 43542 w 572724"/>
                <a:gd name="connsiteY72" fmla="*/ 328307 h 608067"/>
                <a:gd name="connsiteX73" fmla="*/ 48556 w 572724"/>
                <a:gd name="connsiteY73" fmla="*/ 280176 h 608067"/>
                <a:gd name="connsiteX74" fmla="*/ 61595 w 572724"/>
                <a:gd name="connsiteY74" fmla="*/ 205974 h 608067"/>
                <a:gd name="connsiteX75" fmla="*/ 89677 w 572724"/>
                <a:gd name="connsiteY75" fmla="*/ 139794 h 608067"/>
                <a:gd name="connsiteX76" fmla="*/ 82656 w 572724"/>
                <a:gd name="connsiteY76" fmla="*/ 147816 h 608067"/>
                <a:gd name="connsiteX77" fmla="*/ 132803 w 572724"/>
                <a:gd name="connsiteY77" fmla="*/ 87652 h 608067"/>
                <a:gd name="connsiteX78" fmla="*/ 143835 w 572724"/>
                <a:gd name="connsiteY78" fmla="*/ 81636 h 608067"/>
                <a:gd name="connsiteX79" fmla="*/ 151859 w 572724"/>
                <a:gd name="connsiteY79" fmla="*/ 74617 h 608067"/>
                <a:gd name="connsiteX80" fmla="*/ 153865 w 572724"/>
                <a:gd name="connsiteY80" fmla="*/ 75620 h 608067"/>
                <a:gd name="connsiteX81" fmla="*/ 171918 w 572724"/>
                <a:gd name="connsiteY81" fmla="*/ 64590 h 608067"/>
                <a:gd name="connsiteX82" fmla="*/ 176932 w 572724"/>
                <a:gd name="connsiteY82" fmla="*/ 60579 h 608067"/>
                <a:gd name="connsiteX83" fmla="*/ 184956 w 572724"/>
                <a:gd name="connsiteY83" fmla="*/ 58573 h 608067"/>
                <a:gd name="connsiteX84" fmla="*/ 184956 w 572724"/>
                <a:gd name="connsiteY84" fmla="*/ 58573 h 608067"/>
                <a:gd name="connsiteX85" fmla="*/ 189970 w 572724"/>
                <a:gd name="connsiteY85" fmla="*/ 56568 h 608067"/>
                <a:gd name="connsiteX86" fmla="*/ 206018 w 572724"/>
                <a:gd name="connsiteY86" fmla="*/ 45538 h 608067"/>
                <a:gd name="connsiteX87" fmla="*/ 223067 w 572724"/>
                <a:gd name="connsiteY87" fmla="*/ 35511 h 608067"/>
                <a:gd name="connsiteX88" fmla="*/ 225073 w 572724"/>
                <a:gd name="connsiteY88" fmla="*/ 35511 h 608067"/>
                <a:gd name="connsiteX89" fmla="*/ 228082 w 572724"/>
                <a:gd name="connsiteY89" fmla="*/ 32503 h 608067"/>
                <a:gd name="connsiteX90" fmla="*/ 234100 w 572724"/>
                <a:gd name="connsiteY90" fmla="*/ 31500 h 608067"/>
                <a:gd name="connsiteX91" fmla="*/ 233097 w 572724"/>
                <a:gd name="connsiteY91" fmla="*/ 31500 h 608067"/>
                <a:gd name="connsiteX92" fmla="*/ 239114 w 572724"/>
                <a:gd name="connsiteY92" fmla="*/ 30497 h 608067"/>
                <a:gd name="connsiteX93" fmla="*/ 240117 w 572724"/>
                <a:gd name="connsiteY93" fmla="*/ 32503 h 608067"/>
                <a:gd name="connsiteX94" fmla="*/ 250147 w 572724"/>
                <a:gd name="connsiteY94" fmla="*/ 30497 h 608067"/>
                <a:gd name="connsiteX95" fmla="*/ 219056 w 572724"/>
                <a:gd name="connsiteY95" fmla="*/ 31500 h 608067"/>
                <a:gd name="connsiteX96" fmla="*/ 234100 w 572724"/>
                <a:gd name="connsiteY96" fmla="*/ 27489 h 608067"/>
                <a:gd name="connsiteX97" fmla="*/ 245132 w 572724"/>
                <a:gd name="connsiteY97" fmla="*/ 27489 h 608067"/>
                <a:gd name="connsiteX98" fmla="*/ 258170 w 572724"/>
                <a:gd name="connsiteY98" fmla="*/ 27489 h 608067"/>
                <a:gd name="connsiteX99" fmla="*/ 265191 w 572724"/>
                <a:gd name="connsiteY99" fmla="*/ 25483 h 608067"/>
                <a:gd name="connsiteX100" fmla="*/ 273214 w 572724"/>
                <a:gd name="connsiteY100" fmla="*/ 26486 h 608067"/>
                <a:gd name="connsiteX101" fmla="*/ 261179 w 572724"/>
                <a:gd name="connsiteY101" fmla="*/ 27489 h 608067"/>
                <a:gd name="connsiteX102" fmla="*/ 266194 w 572724"/>
                <a:gd name="connsiteY102" fmla="*/ 28492 h 608067"/>
                <a:gd name="connsiteX103" fmla="*/ 273214 w 572724"/>
                <a:gd name="connsiteY103" fmla="*/ 28492 h 608067"/>
                <a:gd name="connsiteX104" fmla="*/ 287255 w 572724"/>
                <a:gd name="connsiteY104" fmla="*/ 28492 h 608067"/>
                <a:gd name="connsiteX105" fmla="*/ 293273 w 572724"/>
                <a:gd name="connsiteY105" fmla="*/ 31500 h 608067"/>
                <a:gd name="connsiteX106" fmla="*/ 297285 w 572724"/>
                <a:gd name="connsiteY106" fmla="*/ 30497 h 608067"/>
                <a:gd name="connsiteX107" fmla="*/ 289261 w 572724"/>
                <a:gd name="connsiteY107" fmla="*/ 25483 h 608067"/>
                <a:gd name="connsiteX108" fmla="*/ 300294 w 572724"/>
                <a:gd name="connsiteY108" fmla="*/ 27489 h 608067"/>
                <a:gd name="connsiteX109" fmla="*/ 300294 w 572724"/>
                <a:gd name="connsiteY109" fmla="*/ 25483 h 608067"/>
                <a:gd name="connsiteX110" fmla="*/ 310323 w 572724"/>
                <a:gd name="connsiteY110" fmla="*/ 27489 h 608067"/>
                <a:gd name="connsiteX111" fmla="*/ 307314 w 572724"/>
                <a:gd name="connsiteY111" fmla="*/ 26486 h 608067"/>
                <a:gd name="connsiteX112" fmla="*/ 296282 w 572724"/>
                <a:gd name="connsiteY112" fmla="*/ 28492 h 608067"/>
                <a:gd name="connsiteX113" fmla="*/ 286252 w 572724"/>
                <a:gd name="connsiteY113" fmla="*/ 30497 h 608067"/>
                <a:gd name="connsiteX114" fmla="*/ 299291 w 572724"/>
                <a:gd name="connsiteY114" fmla="*/ 27489 h 608067"/>
                <a:gd name="connsiteX115" fmla="*/ 311326 w 572724"/>
                <a:gd name="connsiteY115" fmla="*/ 26486 h 608067"/>
                <a:gd name="connsiteX116" fmla="*/ 311326 w 572724"/>
                <a:gd name="connsiteY116" fmla="*/ 23478 h 608067"/>
                <a:gd name="connsiteX117" fmla="*/ 307314 w 572724"/>
                <a:gd name="connsiteY117" fmla="*/ 24481 h 608067"/>
                <a:gd name="connsiteX118" fmla="*/ 303302 w 572724"/>
                <a:gd name="connsiteY118" fmla="*/ 20470 h 608067"/>
                <a:gd name="connsiteX119" fmla="*/ 296282 w 572724"/>
                <a:gd name="connsiteY119" fmla="*/ 23478 h 608067"/>
                <a:gd name="connsiteX120" fmla="*/ 288258 w 572724"/>
                <a:gd name="connsiteY120" fmla="*/ 25483 h 608067"/>
                <a:gd name="connsiteX121" fmla="*/ 286252 w 572724"/>
                <a:gd name="connsiteY121" fmla="*/ 24481 h 608067"/>
                <a:gd name="connsiteX122" fmla="*/ 298288 w 572724"/>
                <a:gd name="connsiteY122" fmla="*/ 25483 h 608067"/>
                <a:gd name="connsiteX123" fmla="*/ 305308 w 572724"/>
                <a:gd name="connsiteY123" fmla="*/ 24481 h 608067"/>
                <a:gd name="connsiteX124" fmla="*/ 306311 w 572724"/>
                <a:gd name="connsiteY124" fmla="*/ 24481 h 608067"/>
                <a:gd name="connsiteX125" fmla="*/ 312329 w 572724"/>
                <a:gd name="connsiteY125" fmla="*/ 23478 h 608067"/>
                <a:gd name="connsiteX126" fmla="*/ 310323 w 572724"/>
                <a:gd name="connsiteY126" fmla="*/ 16459 h 608067"/>
                <a:gd name="connsiteX127" fmla="*/ 309320 w 572724"/>
                <a:gd name="connsiteY127" fmla="*/ 9440 h 608067"/>
                <a:gd name="connsiteX128" fmla="*/ 298288 w 572724"/>
                <a:gd name="connsiteY128" fmla="*/ 10443 h 608067"/>
                <a:gd name="connsiteX129" fmla="*/ 288258 w 572724"/>
                <a:gd name="connsiteY129" fmla="*/ 6432 h 608067"/>
                <a:gd name="connsiteX130" fmla="*/ 284247 w 572724"/>
                <a:gd name="connsiteY130" fmla="*/ 7434 h 608067"/>
                <a:gd name="connsiteX131" fmla="*/ 277226 w 572724"/>
                <a:gd name="connsiteY131" fmla="*/ 4426 h 608067"/>
                <a:gd name="connsiteX132" fmla="*/ 266194 w 572724"/>
                <a:gd name="connsiteY132" fmla="*/ 4426 h 608067"/>
                <a:gd name="connsiteX133" fmla="*/ 263185 w 572724"/>
                <a:gd name="connsiteY133" fmla="*/ 6432 h 608067"/>
                <a:gd name="connsiteX134" fmla="*/ 243126 w 572724"/>
                <a:gd name="connsiteY134" fmla="*/ 7434 h 608067"/>
                <a:gd name="connsiteX135" fmla="*/ 239114 w 572724"/>
                <a:gd name="connsiteY135" fmla="*/ 2421 h 608067"/>
                <a:gd name="connsiteX136" fmla="*/ 246135 w 572724"/>
                <a:gd name="connsiteY136" fmla="*/ 4426 h 608067"/>
                <a:gd name="connsiteX137" fmla="*/ 256164 w 572724"/>
                <a:gd name="connsiteY137" fmla="*/ 415 h 608067"/>
                <a:gd name="connsiteX138" fmla="*/ 241120 w 572724"/>
                <a:gd name="connsiteY138" fmla="*/ 1418 h 608067"/>
                <a:gd name="connsiteX139" fmla="*/ 242123 w 572724"/>
                <a:gd name="connsiteY139" fmla="*/ 1418 h 608067"/>
                <a:gd name="connsiteX140" fmla="*/ 222064 w 572724"/>
                <a:gd name="connsiteY140" fmla="*/ 4426 h 608067"/>
                <a:gd name="connsiteX141" fmla="*/ 224070 w 572724"/>
                <a:gd name="connsiteY141" fmla="*/ 1418 h 608067"/>
                <a:gd name="connsiteX142" fmla="*/ 217050 w 572724"/>
                <a:gd name="connsiteY142" fmla="*/ 2421 h 608067"/>
                <a:gd name="connsiteX143" fmla="*/ 217050 w 572724"/>
                <a:gd name="connsiteY143" fmla="*/ 3424 h 608067"/>
                <a:gd name="connsiteX144" fmla="*/ 208023 w 572724"/>
                <a:gd name="connsiteY144" fmla="*/ 5429 h 608067"/>
                <a:gd name="connsiteX145" fmla="*/ 191976 w 572724"/>
                <a:gd name="connsiteY145" fmla="*/ 13451 h 608067"/>
                <a:gd name="connsiteX146" fmla="*/ 177935 w 572724"/>
                <a:gd name="connsiteY146" fmla="*/ 22475 h 608067"/>
                <a:gd name="connsiteX147" fmla="*/ 167906 w 572724"/>
                <a:gd name="connsiteY147" fmla="*/ 26486 h 608067"/>
                <a:gd name="connsiteX148" fmla="*/ 173924 w 572724"/>
                <a:gd name="connsiteY148" fmla="*/ 23478 h 608067"/>
                <a:gd name="connsiteX149" fmla="*/ 186962 w 572724"/>
                <a:gd name="connsiteY149" fmla="*/ 15456 h 608067"/>
                <a:gd name="connsiteX150" fmla="*/ 200000 w 572724"/>
                <a:gd name="connsiteY150" fmla="*/ 8437 h 608067"/>
                <a:gd name="connsiteX151" fmla="*/ 203009 w 572724"/>
                <a:gd name="connsiteY151" fmla="*/ 6432 h 608067"/>
                <a:gd name="connsiteX152" fmla="*/ 192979 w 572724"/>
                <a:gd name="connsiteY152" fmla="*/ 10443 h 608067"/>
                <a:gd name="connsiteX153" fmla="*/ 175929 w 572724"/>
                <a:gd name="connsiteY153" fmla="*/ 19467 h 608067"/>
                <a:gd name="connsiteX154" fmla="*/ 159882 w 572724"/>
                <a:gd name="connsiteY154" fmla="*/ 29494 h 608067"/>
                <a:gd name="connsiteX155" fmla="*/ 151859 w 572724"/>
                <a:gd name="connsiteY155" fmla="*/ 34508 h 608067"/>
                <a:gd name="connsiteX156" fmla="*/ 146844 w 572724"/>
                <a:gd name="connsiteY156" fmla="*/ 39522 h 608067"/>
                <a:gd name="connsiteX157" fmla="*/ 142832 w 572724"/>
                <a:gd name="connsiteY157" fmla="*/ 38519 h 608067"/>
                <a:gd name="connsiteX158" fmla="*/ 141829 w 572724"/>
                <a:gd name="connsiteY158" fmla="*/ 39522 h 608067"/>
                <a:gd name="connsiteX159" fmla="*/ 137818 w 572724"/>
                <a:gd name="connsiteY159" fmla="*/ 40524 h 608067"/>
                <a:gd name="connsiteX160" fmla="*/ 124780 w 572724"/>
                <a:gd name="connsiteY160" fmla="*/ 50552 h 608067"/>
                <a:gd name="connsiteX161" fmla="*/ 112744 w 572724"/>
                <a:gd name="connsiteY161" fmla="*/ 62584 h 608067"/>
                <a:gd name="connsiteX162" fmla="*/ 118762 w 572724"/>
                <a:gd name="connsiteY162" fmla="*/ 50552 h 608067"/>
                <a:gd name="connsiteX163" fmla="*/ 119765 w 572724"/>
                <a:gd name="connsiteY163" fmla="*/ 50552 h 608067"/>
                <a:gd name="connsiteX164" fmla="*/ 122774 w 572724"/>
                <a:gd name="connsiteY164" fmla="*/ 45538 h 608067"/>
                <a:gd name="connsiteX165" fmla="*/ 109736 w 572724"/>
                <a:gd name="connsiteY165" fmla="*/ 57571 h 608067"/>
                <a:gd name="connsiteX166" fmla="*/ 106727 w 572724"/>
                <a:gd name="connsiteY166" fmla="*/ 59576 h 608067"/>
                <a:gd name="connsiteX167" fmla="*/ 106727 w 572724"/>
                <a:gd name="connsiteY167" fmla="*/ 59576 h 608067"/>
                <a:gd name="connsiteX168" fmla="*/ 104721 w 572724"/>
                <a:gd name="connsiteY168" fmla="*/ 59576 h 608067"/>
                <a:gd name="connsiteX169" fmla="*/ 104721 w 572724"/>
                <a:gd name="connsiteY169" fmla="*/ 58573 h 608067"/>
                <a:gd name="connsiteX170" fmla="*/ 93689 w 572724"/>
                <a:gd name="connsiteY170" fmla="*/ 68601 h 608067"/>
                <a:gd name="connsiteX171" fmla="*/ 80650 w 572724"/>
                <a:gd name="connsiteY171" fmla="*/ 84644 h 608067"/>
                <a:gd name="connsiteX172" fmla="*/ 78645 w 572724"/>
                <a:gd name="connsiteY172" fmla="*/ 88655 h 608067"/>
                <a:gd name="connsiteX173" fmla="*/ 58586 w 572724"/>
                <a:gd name="connsiteY173" fmla="*/ 112721 h 608067"/>
                <a:gd name="connsiteX174" fmla="*/ 61595 w 572724"/>
                <a:gd name="connsiteY174" fmla="*/ 113723 h 608067"/>
                <a:gd name="connsiteX175" fmla="*/ 56580 w 572724"/>
                <a:gd name="connsiteY175" fmla="*/ 121745 h 608067"/>
                <a:gd name="connsiteX176" fmla="*/ 51565 w 572724"/>
                <a:gd name="connsiteY176" fmla="*/ 123751 h 608067"/>
                <a:gd name="connsiteX177" fmla="*/ 46550 w 572724"/>
                <a:gd name="connsiteY177" fmla="*/ 124753 h 608067"/>
                <a:gd name="connsiteX178" fmla="*/ 40533 w 572724"/>
                <a:gd name="connsiteY178" fmla="*/ 136786 h 608067"/>
                <a:gd name="connsiteX179" fmla="*/ 39530 w 572724"/>
                <a:gd name="connsiteY179" fmla="*/ 144808 h 608067"/>
                <a:gd name="connsiteX180" fmla="*/ 31506 w 572724"/>
                <a:gd name="connsiteY180" fmla="*/ 156841 h 608067"/>
                <a:gd name="connsiteX181" fmla="*/ 29501 w 572724"/>
                <a:gd name="connsiteY181" fmla="*/ 154835 h 608067"/>
                <a:gd name="connsiteX182" fmla="*/ 19471 w 572724"/>
                <a:gd name="connsiteY182" fmla="*/ 173887 h 608067"/>
                <a:gd name="connsiteX183" fmla="*/ 16462 w 572724"/>
                <a:gd name="connsiteY183" fmla="*/ 194944 h 608067"/>
                <a:gd name="connsiteX184" fmla="*/ 17465 w 572724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4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1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2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7" y="569964"/>
                    <a:pt x="467784" y="555925"/>
                    <a:pt x="476810" y="546901"/>
                  </a:cubicBezTo>
                  <a:cubicBezTo>
                    <a:pt x="475808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2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40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7" y="319282"/>
                    <a:pt x="575098" y="283184"/>
                    <a:pt x="571087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1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8" y="76623"/>
                    <a:pt x="376517" y="76623"/>
                    <a:pt x="372505" y="76623"/>
                  </a:cubicBezTo>
                  <a:cubicBezTo>
                    <a:pt x="368493" y="76623"/>
                    <a:pt x="363479" y="76623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5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2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9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7"/>
                    <a:pt x="64603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8" y="64590"/>
                  </a:cubicBezTo>
                  <a:cubicBezTo>
                    <a:pt x="171918" y="63587"/>
                    <a:pt x="173924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9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5" y="25483"/>
                    <a:pt x="273214" y="26486"/>
                  </a:cubicBezTo>
                  <a:cubicBezTo>
                    <a:pt x="269203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3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49" y="7434"/>
                    <a:pt x="284247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4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4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9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5" y="87652"/>
                    <a:pt x="80650" y="85647"/>
                    <a:pt x="78645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8468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4" name="Gruppe 23">
            <a:extLst>
              <a:ext uri="{FF2B5EF4-FFF2-40B4-BE49-F238E27FC236}">
                <a16:creationId xmlns:a16="http://schemas.microsoft.com/office/drawing/2014/main" id="{E6FEDFEE-F7B0-4148-A7EE-36285E92E9DE}"/>
              </a:ext>
            </a:extLst>
          </p:cNvPr>
          <p:cNvGrpSpPr/>
          <p:nvPr userDrawn="1"/>
        </p:nvGrpSpPr>
        <p:grpSpPr>
          <a:xfrm>
            <a:off x="1308673" y="3833454"/>
            <a:ext cx="627481" cy="870110"/>
            <a:chOff x="2960374" y="4076697"/>
            <a:chExt cx="627481" cy="870110"/>
          </a:xfrm>
        </p:grpSpPr>
        <p:sp>
          <p:nvSpPr>
            <p:cNvPr id="14" name="Tekstfelt 13">
              <a:extLst>
                <a:ext uri="{FF2B5EF4-FFF2-40B4-BE49-F238E27FC236}">
                  <a16:creationId xmlns:a16="http://schemas.microsoft.com/office/drawing/2014/main" id="{127A65BA-C169-D54B-B96E-F56314E0BB16}"/>
                </a:ext>
              </a:extLst>
            </p:cNvPr>
            <p:cNvSpPr txBox="1"/>
            <p:nvPr/>
          </p:nvSpPr>
          <p:spPr>
            <a:xfrm>
              <a:off x="3074573" y="4076697"/>
              <a:ext cx="513282" cy="87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054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3</a:t>
              </a:r>
            </a:p>
          </p:txBody>
        </p:sp>
        <p:sp>
          <p:nvSpPr>
            <p:cNvPr id="20" name="Kombinationstegning 19">
              <a:extLst>
                <a:ext uri="{FF2B5EF4-FFF2-40B4-BE49-F238E27FC236}">
                  <a16:creationId xmlns:a16="http://schemas.microsoft.com/office/drawing/2014/main" id="{6EB7399E-C2DB-DD4F-B1F2-9C7FFD133BBE}"/>
                </a:ext>
              </a:extLst>
            </p:cNvPr>
            <p:cNvSpPr/>
            <p:nvPr/>
          </p:nvSpPr>
          <p:spPr>
            <a:xfrm>
              <a:off x="2960374" y="4178700"/>
              <a:ext cx="572724" cy="608067"/>
            </a:xfrm>
            <a:custGeom>
              <a:avLst/>
              <a:gdLst>
                <a:gd name="connsiteX0" fmla="*/ 17465 w 572724"/>
                <a:gd name="connsiteY0" fmla="*/ 206977 h 608067"/>
                <a:gd name="connsiteX1" fmla="*/ 15459 w 572724"/>
                <a:gd name="connsiteY1" fmla="*/ 213996 h 608067"/>
                <a:gd name="connsiteX2" fmla="*/ 40533 w 572724"/>
                <a:gd name="connsiteY2" fmla="*/ 142802 h 608067"/>
                <a:gd name="connsiteX3" fmla="*/ 6433 w 572724"/>
                <a:gd name="connsiteY3" fmla="*/ 223021 h 608067"/>
                <a:gd name="connsiteX4" fmla="*/ 8439 w 572724"/>
                <a:gd name="connsiteY4" fmla="*/ 300230 h 608067"/>
                <a:gd name="connsiteX5" fmla="*/ 415 w 572724"/>
                <a:gd name="connsiteY5" fmla="*/ 331315 h 608067"/>
                <a:gd name="connsiteX6" fmla="*/ 1418 w 572724"/>
                <a:gd name="connsiteY6" fmla="*/ 359391 h 608067"/>
                <a:gd name="connsiteX7" fmla="*/ 10445 w 572724"/>
                <a:gd name="connsiteY7" fmla="*/ 392481 h 608067"/>
                <a:gd name="connsiteX8" fmla="*/ 4427 w 572724"/>
                <a:gd name="connsiteY8" fmla="*/ 369418 h 608067"/>
                <a:gd name="connsiteX9" fmla="*/ 10445 w 572724"/>
                <a:gd name="connsiteY9" fmla="*/ 392481 h 608067"/>
                <a:gd name="connsiteX10" fmla="*/ 29501 w 572724"/>
                <a:gd name="connsiteY10" fmla="*/ 445626 h 608067"/>
                <a:gd name="connsiteX11" fmla="*/ 60592 w 572724"/>
                <a:gd name="connsiteY11" fmla="*/ 496765 h 608067"/>
                <a:gd name="connsiteX12" fmla="*/ 156874 w 572724"/>
                <a:gd name="connsiteY12" fmla="*/ 569964 h 608067"/>
                <a:gd name="connsiteX13" fmla="*/ 257167 w 572724"/>
                <a:gd name="connsiteY13" fmla="*/ 601048 h 608067"/>
                <a:gd name="connsiteX14" fmla="*/ 317343 w 572724"/>
                <a:gd name="connsiteY14" fmla="*/ 608067 h 608067"/>
                <a:gd name="connsiteX15" fmla="*/ 364482 w 572724"/>
                <a:gd name="connsiteY15" fmla="*/ 607064 h 608067"/>
                <a:gd name="connsiteX16" fmla="*/ 385543 w 572724"/>
                <a:gd name="connsiteY16" fmla="*/ 604056 h 608067"/>
                <a:gd name="connsiteX17" fmla="*/ 362476 w 572724"/>
                <a:gd name="connsiteY17" fmla="*/ 606062 h 608067"/>
                <a:gd name="connsiteX18" fmla="*/ 438699 w 572724"/>
                <a:gd name="connsiteY18" fmla="*/ 578988 h 608067"/>
                <a:gd name="connsiteX19" fmla="*/ 422652 w 572724"/>
                <a:gd name="connsiteY19" fmla="*/ 580994 h 608067"/>
                <a:gd name="connsiteX20" fmla="*/ 434687 w 572724"/>
                <a:gd name="connsiteY20" fmla="*/ 576983 h 608067"/>
                <a:gd name="connsiteX21" fmla="*/ 476810 w 572724"/>
                <a:gd name="connsiteY21" fmla="*/ 546901 h 608067"/>
                <a:gd name="connsiteX22" fmla="*/ 490852 w 572724"/>
                <a:gd name="connsiteY22" fmla="*/ 537876 h 608067"/>
                <a:gd name="connsiteX23" fmla="*/ 487843 w 572724"/>
                <a:gd name="connsiteY23" fmla="*/ 538879 h 608067"/>
                <a:gd name="connsiteX24" fmla="*/ 521942 w 572724"/>
                <a:gd name="connsiteY24" fmla="*/ 498770 h 608067"/>
                <a:gd name="connsiteX25" fmla="*/ 543004 w 572724"/>
                <a:gd name="connsiteY25" fmla="*/ 454650 h 608067"/>
                <a:gd name="connsiteX26" fmla="*/ 547016 w 572724"/>
                <a:gd name="connsiteY26" fmla="*/ 446628 h 608067"/>
                <a:gd name="connsiteX27" fmla="*/ 553034 w 572724"/>
                <a:gd name="connsiteY27" fmla="*/ 419555 h 608067"/>
                <a:gd name="connsiteX28" fmla="*/ 559051 w 572724"/>
                <a:gd name="connsiteY28" fmla="*/ 411533 h 608067"/>
                <a:gd name="connsiteX29" fmla="*/ 566072 w 572724"/>
                <a:gd name="connsiteY29" fmla="*/ 352372 h 608067"/>
                <a:gd name="connsiteX30" fmla="*/ 571087 w 572724"/>
                <a:gd name="connsiteY30" fmla="*/ 246083 h 608067"/>
                <a:gd name="connsiteX31" fmla="*/ 528963 w 572724"/>
                <a:gd name="connsiteY31" fmla="*/ 144808 h 608067"/>
                <a:gd name="connsiteX32" fmla="*/ 528963 w 572724"/>
                <a:gd name="connsiteY32" fmla="*/ 146813 h 608067"/>
                <a:gd name="connsiteX33" fmla="*/ 469790 w 572724"/>
                <a:gd name="connsiteY33" fmla="*/ 96677 h 608067"/>
                <a:gd name="connsiteX34" fmla="*/ 437696 w 572724"/>
                <a:gd name="connsiteY34" fmla="*/ 83642 h 608067"/>
                <a:gd name="connsiteX35" fmla="*/ 422652 w 572724"/>
                <a:gd name="connsiteY35" fmla="*/ 80633 h 608067"/>
                <a:gd name="connsiteX36" fmla="*/ 412622 w 572724"/>
                <a:gd name="connsiteY36" fmla="*/ 80633 h 608067"/>
                <a:gd name="connsiteX37" fmla="*/ 397578 w 572724"/>
                <a:gd name="connsiteY37" fmla="*/ 77625 h 608067"/>
                <a:gd name="connsiteX38" fmla="*/ 384540 w 572724"/>
                <a:gd name="connsiteY38" fmla="*/ 76623 h 608067"/>
                <a:gd name="connsiteX39" fmla="*/ 372505 w 572724"/>
                <a:gd name="connsiteY39" fmla="*/ 76623 h 608067"/>
                <a:gd name="connsiteX40" fmla="*/ 357461 w 572724"/>
                <a:gd name="connsiteY40" fmla="*/ 77625 h 608067"/>
                <a:gd name="connsiteX41" fmla="*/ 350441 w 572724"/>
                <a:gd name="connsiteY41" fmla="*/ 80633 h 608067"/>
                <a:gd name="connsiteX42" fmla="*/ 347432 w 572724"/>
                <a:gd name="connsiteY42" fmla="*/ 82639 h 608067"/>
                <a:gd name="connsiteX43" fmla="*/ 374511 w 572724"/>
                <a:gd name="connsiteY43" fmla="*/ 85647 h 608067"/>
                <a:gd name="connsiteX44" fmla="*/ 374511 w 572724"/>
                <a:gd name="connsiteY44" fmla="*/ 84644 h 608067"/>
                <a:gd name="connsiteX45" fmla="*/ 451737 w 572724"/>
                <a:gd name="connsiteY45" fmla="*/ 115729 h 608067"/>
                <a:gd name="connsiteX46" fmla="*/ 507901 w 572724"/>
                <a:gd name="connsiteY46" fmla="*/ 175892 h 608067"/>
                <a:gd name="connsiteX47" fmla="*/ 528963 w 572724"/>
                <a:gd name="connsiteY47" fmla="*/ 228034 h 608067"/>
                <a:gd name="connsiteX48" fmla="*/ 531972 w 572724"/>
                <a:gd name="connsiteY48" fmla="*/ 288198 h 608067"/>
                <a:gd name="connsiteX49" fmla="*/ 524951 w 572724"/>
                <a:gd name="connsiteY49" fmla="*/ 357386 h 608067"/>
                <a:gd name="connsiteX50" fmla="*/ 513919 w 572724"/>
                <a:gd name="connsiteY50" fmla="*/ 420557 h 608067"/>
                <a:gd name="connsiteX51" fmla="*/ 503890 w 572724"/>
                <a:gd name="connsiteY51" fmla="*/ 441615 h 608067"/>
                <a:gd name="connsiteX52" fmla="*/ 477813 w 572724"/>
                <a:gd name="connsiteY52" fmla="*/ 489746 h 608067"/>
                <a:gd name="connsiteX53" fmla="*/ 434687 w 572724"/>
                <a:gd name="connsiteY53" fmla="*/ 527849 h 608067"/>
                <a:gd name="connsiteX54" fmla="*/ 436693 w 572724"/>
                <a:gd name="connsiteY54" fmla="*/ 526846 h 608067"/>
                <a:gd name="connsiteX55" fmla="*/ 385543 w 572724"/>
                <a:gd name="connsiteY55" fmla="*/ 545898 h 608067"/>
                <a:gd name="connsiteX56" fmla="*/ 381531 w 572724"/>
                <a:gd name="connsiteY56" fmla="*/ 547904 h 608067"/>
                <a:gd name="connsiteX57" fmla="*/ 361473 w 572724"/>
                <a:gd name="connsiteY57" fmla="*/ 550912 h 608067"/>
                <a:gd name="connsiteX58" fmla="*/ 320352 w 572724"/>
                <a:gd name="connsiteY58" fmla="*/ 556928 h 608067"/>
                <a:gd name="connsiteX59" fmla="*/ 254159 w 572724"/>
                <a:gd name="connsiteY59" fmla="*/ 553920 h 608067"/>
                <a:gd name="connsiteX60" fmla="*/ 247138 w 572724"/>
                <a:gd name="connsiteY60" fmla="*/ 552917 h 608067"/>
                <a:gd name="connsiteX61" fmla="*/ 184956 w 572724"/>
                <a:gd name="connsiteY61" fmla="*/ 529855 h 608067"/>
                <a:gd name="connsiteX62" fmla="*/ 133806 w 572724"/>
                <a:gd name="connsiteY62" fmla="*/ 500776 h 608067"/>
                <a:gd name="connsiteX63" fmla="*/ 112744 w 572724"/>
                <a:gd name="connsiteY63" fmla="*/ 490748 h 608067"/>
                <a:gd name="connsiteX64" fmla="*/ 100709 w 572724"/>
                <a:gd name="connsiteY64" fmla="*/ 480721 h 608067"/>
                <a:gd name="connsiteX65" fmla="*/ 87671 w 572724"/>
                <a:gd name="connsiteY65" fmla="*/ 464677 h 608067"/>
                <a:gd name="connsiteX66" fmla="*/ 64604 w 572724"/>
                <a:gd name="connsiteY66" fmla="*/ 425571 h 608067"/>
                <a:gd name="connsiteX67" fmla="*/ 56580 w 572724"/>
                <a:gd name="connsiteY67" fmla="*/ 407522 h 608067"/>
                <a:gd name="connsiteX68" fmla="*/ 55577 w 572724"/>
                <a:gd name="connsiteY68" fmla="*/ 395489 h 608067"/>
                <a:gd name="connsiteX69" fmla="*/ 51565 w 572724"/>
                <a:gd name="connsiteY69" fmla="*/ 369418 h 608067"/>
                <a:gd name="connsiteX70" fmla="*/ 47553 w 572724"/>
                <a:gd name="connsiteY70" fmla="*/ 347358 h 608067"/>
                <a:gd name="connsiteX71" fmla="*/ 43542 w 572724"/>
                <a:gd name="connsiteY71" fmla="*/ 325299 h 608067"/>
                <a:gd name="connsiteX72" fmla="*/ 43542 w 572724"/>
                <a:gd name="connsiteY72" fmla="*/ 328307 h 608067"/>
                <a:gd name="connsiteX73" fmla="*/ 48556 w 572724"/>
                <a:gd name="connsiteY73" fmla="*/ 280176 h 608067"/>
                <a:gd name="connsiteX74" fmla="*/ 61595 w 572724"/>
                <a:gd name="connsiteY74" fmla="*/ 205974 h 608067"/>
                <a:gd name="connsiteX75" fmla="*/ 89677 w 572724"/>
                <a:gd name="connsiteY75" fmla="*/ 139794 h 608067"/>
                <a:gd name="connsiteX76" fmla="*/ 82656 w 572724"/>
                <a:gd name="connsiteY76" fmla="*/ 147816 h 608067"/>
                <a:gd name="connsiteX77" fmla="*/ 132803 w 572724"/>
                <a:gd name="connsiteY77" fmla="*/ 87652 h 608067"/>
                <a:gd name="connsiteX78" fmla="*/ 143835 w 572724"/>
                <a:gd name="connsiteY78" fmla="*/ 81636 h 608067"/>
                <a:gd name="connsiteX79" fmla="*/ 151859 w 572724"/>
                <a:gd name="connsiteY79" fmla="*/ 74617 h 608067"/>
                <a:gd name="connsiteX80" fmla="*/ 153865 w 572724"/>
                <a:gd name="connsiteY80" fmla="*/ 75620 h 608067"/>
                <a:gd name="connsiteX81" fmla="*/ 171918 w 572724"/>
                <a:gd name="connsiteY81" fmla="*/ 64590 h 608067"/>
                <a:gd name="connsiteX82" fmla="*/ 176932 w 572724"/>
                <a:gd name="connsiteY82" fmla="*/ 60579 h 608067"/>
                <a:gd name="connsiteX83" fmla="*/ 184956 w 572724"/>
                <a:gd name="connsiteY83" fmla="*/ 58573 h 608067"/>
                <a:gd name="connsiteX84" fmla="*/ 184956 w 572724"/>
                <a:gd name="connsiteY84" fmla="*/ 58573 h 608067"/>
                <a:gd name="connsiteX85" fmla="*/ 189971 w 572724"/>
                <a:gd name="connsiteY85" fmla="*/ 56568 h 608067"/>
                <a:gd name="connsiteX86" fmla="*/ 206017 w 572724"/>
                <a:gd name="connsiteY86" fmla="*/ 45538 h 608067"/>
                <a:gd name="connsiteX87" fmla="*/ 223067 w 572724"/>
                <a:gd name="connsiteY87" fmla="*/ 35511 h 608067"/>
                <a:gd name="connsiteX88" fmla="*/ 225073 w 572724"/>
                <a:gd name="connsiteY88" fmla="*/ 35511 h 608067"/>
                <a:gd name="connsiteX89" fmla="*/ 228082 w 572724"/>
                <a:gd name="connsiteY89" fmla="*/ 32503 h 608067"/>
                <a:gd name="connsiteX90" fmla="*/ 234100 w 572724"/>
                <a:gd name="connsiteY90" fmla="*/ 31500 h 608067"/>
                <a:gd name="connsiteX91" fmla="*/ 233097 w 572724"/>
                <a:gd name="connsiteY91" fmla="*/ 31500 h 608067"/>
                <a:gd name="connsiteX92" fmla="*/ 239114 w 572724"/>
                <a:gd name="connsiteY92" fmla="*/ 30497 h 608067"/>
                <a:gd name="connsiteX93" fmla="*/ 240117 w 572724"/>
                <a:gd name="connsiteY93" fmla="*/ 32503 h 608067"/>
                <a:gd name="connsiteX94" fmla="*/ 250147 w 572724"/>
                <a:gd name="connsiteY94" fmla="*/ 30497 h 608067"/>
                <a:gd name="connsiteX95" fmla="*/ 219056 w 572724"/>
                <a:gd name="connsiteY95" fmla="*/ 31500 h 608067"/>
                <a:gd name="connsiteX96" fmla="*/ 234100 w 572724"/>
                <a:gd name="connsiteY96" fmla="*/ 27489 h 608067"/>
                <a:gd name="connsiteX97" fmla="*/ 245132 w 572724"/>
                <a:gd name="connsiteY97" fmla="*/ 27489 h 608067"/>
                <a:gd name="connsiteX98" fmla="*/ 258170 w 572724"/>
                <a:gd name="connsiteY98" fmla="*/ 27489 h 608067"/>
                <a:gd name="connsiteX99" fmla="*/ 265191 w 572724"/>
                <a:gd name="connsiteY99" fmla="*/ 25483 h 608067"/>
                <a:gd name="connsiteX100" fmla="*/ 273214 w 572724"/>
                <a:gd name="connsiteY100" fmla="*/ 26486 h 608067"/>
                <a:gd name="connsiteX101" fmla="*/ 261179 w 572724"/>
                <a:gd name="connsiteY101" fmla="*/ 27489 h 608067"/>
                <a:gd name="connsiteX102" fmla="*/ 266194 w 572724"/>
                <a:gd name="connsiteY102" fmla="*/ 28492 h 608067"/>
                <a:gd name="connsiteX103" fmla="*/ 273214 w 572724"/>
                <a:gd name="connsiteY103" fmla="*/ 28492 h 608067"/>
                <a:gd name="connsiteX104" fmla="*/ 287255 w 572724"/>
                <a:gd name="connsiteY104" fmla="*/ 28492 h 608067"/>
                <a:gd name="connsiteX105" fmla="*/ 293273 w 572724"/>
                <a:gd name="connsiteY105" fmla="*/ 31500 h 608067"/>
                <a:gd name="connsiteX106" fmla="*/ 297285 w 572724"/>
                <a:gd name="connsiteY106" fmla="*/ 30497 h 608067"/>
                <a:gd name="connsiteX107" fmla="*/ 289261 w 572724"/>
                <a:gd name="connsiteY107" fmla="*/ 25483 h 608067"/>
                <a:gd name="connsiteX108" fmla="*/ 300294 w 572724"/>
                <a:gd name="connsiteY108" fmla="*/ 27489 h 608067"/>
                <a:gd name="connsiteX109" fmla="*/ 300294 w 572724"/>
                <a:gd name="connsiteY109" fmla="*/ 25483 h 608067"/>
                <a:gd name="connsiteX110" fmla="*/ 310323 w 572724"/>
                <a:gd name="connsiteY110" fmla="*/ 27489 h 608067"/>
                <a:gd name="connsiteX111" fmla="*/ 307314 w 572724"/>
                <a:gd name="connsiteY111" fmla="*/ 26486 h 608067"/>
                <a:gd name="connsiteX112" fmla="*/ 296282 w 572724"/>
                <a:gd name="connsiteY112" fmla="*/ 28492 h 608067"/>
                <a:gd name="connsiteX113" fmla="*/ 286252 w 572724"/>
                <a:gd name="connsiteY113" fmla="*/ 30497 h 608067"/>
                <a:gd name="connsiteX114" fmla="*/ 299291 w 572724"/>
                <a:gd name="connsiteY114" fmla="*/ 27489 h 608067"/>
                <a:gd name="connsiteX115" fmla="*/ 311326 w 572724"/>
                <a:gd name="connsiteY115" fmla="*/ 26486 h 608067"/>
                <a:gd name="connsiteX116" fmla="*/ 311326 w 572724"/>
                <a:gd name="connsiteY116" fmla="*/ 23478 h 608067"/>
                <a:gd name="connsiteX117" fmla="*/ 307314 w 572724"/>
                <a:gd name="connsiteY117" fmla="*/ 24481 h 608067"/>
                <a:gd name="connsiteX118" fmla="*/ 303302 w 572724"/>
                <a:gd name="connsiteY118" fmla="*/ 20470 h 608067"/>
                <a:gd name="connsiteX119" fmla="*/ 296282 w 572724"/>
                <a:gd name="connsiteY119" fmla="*/ 23478 h 608067"/>
                <a:gd name="connsiteX120" fmla="*/ 288258 w 572724"/>
                <a:gd name="connsiteY120" fmla="*/ 25483 h 608067"/>
                <a:gd name="connsiteX121" fmla="*/ 286252 w 572724"/>
                <a:gd name="connsiteY121" fmla="*/ 24481 h 608067"/>
                <a:gd name="connsiteX122" fmla="*/ 298288 w 572724"/>
                <a:gd name="connsiteY122" fmla="*/ 25483 h 608067"/>
                <a:gd name="connsiteX123" fmla="*/ 305308 w 572724"/>
                <a:gd name="connsiteY123" fmla="*/ 24481 h 608067"/>
                <a:gd name="connsiteX124" fmla="*/ 306311 w 572724"/>
                <a:gd name="connsiteY124" fmla="*/ 24481 h 608067"/>
                <a:gd name="connsiteX125" fmla="*/ 312329 w 572724"/>
                <a:gd name="connsiteY125" fmla="*/ 23478 h 608067"/>
                <a:gd name="connsiteX126" fmla="*/ 310323 w 572724"/>
                <a:gd name="connsiteY126" fmla="*/ 16459 h 608067"/>
                <a:gd name="connsiteX127" fmla="*/ 309320 w 572724"/>
                <a:gd name="connsiteY127" fmla="*/ 9440 h 608067"/>
                <a:gd name="connsiteX128" fmla="*/ 298288 w 572724"/>
                <a:gd name="connsiteY128" fmla="*/ 10443 h 608067"/>
                <a:gd name="connsiteX129" fmla="*/ 288258 w 572724"/>
                <a:gd name="connsiteY129" fmla="*/ 6432 h 608067"/>
                <a:gd name="connsiteX130" fmla="*/ 284247 w 572724"/>
                <a:gd name="connsiteY130" fmla="*/ 7434 h 608067"/>
                <a:gd name="connsiteX131" fmla="*/ 277226 w 572724"/>
                <a:gd name="connsiteY131" fmla="*/ 4426 h 608067"/>
                <a:gd name="connsiteX132" fmla="*/ 266194 w 572724"/>
                <a:gd name="connsiteY132" fmla="*/ 4426 h 608067"/>
                <a:gd name="connsiteX133" fmla="*/ 263185 w 572724"/>
                <a:gd name="connsiteY133" fmla="*/ 6432 h 608067"/>
                <a:gd name="connsiteX134" fmla="*/ 243126 w 572724"/>
                <a:gd name="connsiteY134" fmla="*/ 7434 h 608067"/>
                <a:gd name="connsiteX135" fmla="*/ 239114 w 572724"/>
                <a:gd name="connsiteY135" fmla="*/ 2421 h 608067"/>
                <a:gd name="connsiteX136" fmla="*/ 246135 w 572724"/>
                <a:gd name="connsiteY136" fmla="*/ 4426 h 608067"/>
                <a:gd name="connsiteX137" fmla="*/ 256164 w 572724"/>
                <a:gd name="connsiteY137" fmla="*/ 415 h 608067"/>
                <a:gd name="connsiteX138" fmla="*/ 241120 w 572724"/>
                <a:gd name="connsiteY138" fmla="*/ 1418 h 608067"/>
                <a:gd name="connsiteX139" fmla="*/ 242123 w 572724"/>
                <a:gd name="connsiteY139" fmla="*/ 1418 h 608067"/>
                <a:gd name="connsiteX140" fmla="*/ 222064 w 572724"/>
                <a:gd name="connsiteY140" fmla="*/ 4426 h 608067"/>
                <a:gd name="connsiteX141" fmla="*/ 224070 w 572724"/>
                <a:gd name="connsiteY141" fmla="*/ 1418 h 608067"/>
                <a:gd name="connsiteX142" fmla="*/ 217050 w 572724"/>
                <a:gd name="connsiteY142" fmla="*/ 2421 h 608067"/>
                <a:gd name="connsiteX143" fmla="*/ 217050 w 572724"/>
                <a:gd name="connsiteY143" fmla="*/ 3424 h 608067"/>
                <a:gd name="connsiteX144" fmla="*/ 208023 w 572724"/>
                <a:gd name="connsiteY144" fmla="*/ 5429 h 608067"/>
                <a:gd name="connsiteX145" fmla="*/ 191976 w 572724"/>
                <a:gd name="connsiteY145" fmla="*/ 13451 h 608067"/>
                <a:gd name="connsiteX146" fmla="*/ 177935 w 572724"/>
                <a:gd name="connsiteY146" fmla="*/ 22475 h 608067"/>
                <a:gd name="connsiteX147" fmla="*/ 167906 w 572724"/>
                <a:gd name="connsiteY147" fmla="*/ 26486 h 608067"/>
                <a:gd name="connsiteX148" fmla="*/ 173924 w 572724"/>
                <a:gd name="connsiteY148" fmla="*/ 23478 h 608067"/>
                <a:gd name="connsiteX149" fmla="*/ 186962 w 572724"/>
                <a:gd name="connsiteY149" fmla="*/ 15456 h 608067"/>
                <a:gd name="connsiteX150" fmla="*/ 200000 w 572724"/>
                <a:gd name="connsiteY150" fmla="*/ 8437 h 608067"/>
                <a:gd name="connsiteX151" fmla="*/ 203009 w 572724"/>
                <a:gd name="connsiteY151" fmla="*/ 6432 h 608067"/>
                <a:gd name="connsiteX152" fmla="*/ 192979 w 572724"/>
                <a:gd name="connsiteY152" fmla="*/ 10443 h 608067"/>
                <a:gd name="connsiteX153" fmla="*/ 175929 w 572724"/>
                <a:gd name="connsiteY153" fmla="*/ 19467 h 608067"/>
                <a:gd name="connsiteX154" fmla="*/ 159883 w 572724"/>
                <a:gd name="connsiteY154" fmla="*/ 29494 h 608067"/>
                <a:gd name="connsiteX155" fmla="*/ 151859 w 572724"/>
                <a:gd name="connsiteY155" fmla="*/ 34508 h 608067"/>
                <a:gd name="connsiteX156" fmla="*/ 146844 w 572724"/>
                <a:gd name="connsiteY156" fmla="*/ 39522 h 608067"/>
                <a:gd name="connsiteX157" fmla="*/ 142832 w 572724"/>
                <a:gd name="connsiteY157" fmla="*/ 38519 h 608067"/>
                <a:gd name="connsiteX158" fmla="*/ 141829 w 572724"/>
                <a:gd name="connsiteY158" fmla="*/ 39522 h 608067"/>
                <a:gd name="connsiteX159" fmla="*/ 137818 w 572724"/>
                <a:gd name="connsiteY159" fmla="*/ 40524 h 608067"/>
                <a:gd name="connsiteX160" fmla="*/ 124780 w 572724"/>
                <a:gd name="connsiteY160" fmla="*/ 50552 h 608067"/>
                <a:gd name="connsiteX161" fmla="*/ 112744 w 572724"/>
                <a:gd name="connsiteY161" fmla="*/ 62584 h 608067"/>
                <a:gd name="connsiteX162" fmla="*/ 118762 w 572724"/>
                <a:gd name="connsiteY162" fmla="*/ 50552 h 608067"/>
                <a:gd name="connsiteX163" fmla="*/ 119765 w 572724"/>
                <a:gd name="connsiteY163" fmla="*/ 50552 h 608067"/>
                <a:gd name="connsiteX164" fmla="*/ 122774 w 572724"/>
                <a:gd name="connsiteY164" fmla="*/ 45538 h 608067"/>
                <a:gd name="connsiteX165" fmla="*/ 109736 w 572724"/>
                <a:gd name="connsiteY165" fmla="*/ 57571 h 608067"/>
                <a:gd name="connsiteX166" fmla="*/ 106727 w 572724"/>
                <a:gd name="connsiteY166" fmla="*/ 59576 h 608067"/>
                <a:gd name="connsiteX167" fmla="*/ 106727 w 572724"/>
                <a:gd name="connsiteY167" fmla="*/ 59576 h 608067"/>
                <a:gd name="connsiteX168" fmla="*/ 104721 w 572724"/>
                <a:gd name="connsiteY168" fmla="*/ 59576 h 608067"/>
                <a:gd name="connsiteX169" fmla="*/ 104721 w 572724"/>
                <a:gd name="connsiteY169" fmla="*/ 58573 h 608067"/>
                <a:gd name="connsiteX170" fmla="*/ 93689 w 572724"/>
                <a:gd name="connsiteY170" fmla="*/ 68601 h 608067"/>
                <a:gd name="connsiteX171" fmla="*/ 80650 w 572724"/>
                <a:gd name="connsiteY171" fmla="*/ 84644 h 608067"/>
                <a:gd name="connsiteX172" fmla="*/ 78645 w 572724"/>
                <a:gd name="connsiteY172" fmla="*/ 88655 h 608067"/>
                <a:gd name="connsiteX173" fmla="*/ 58586 w 572724"/>
                <a:gd name="connsiteY173" fmla="*/ 112721 h 608067"/>
                <a:gd name="connsiteX174" fmla="*/ 61595 w 572724"/>
                <a:gd name="connsiteY174" fmla="*/ 113723 h 608067"/>
                <a:gd name="connsiteX175" fmla="*/ 56580 w 572724"/>
                <a:gd name="connsiteY175" fmla="*/ 121745 h 608067"/>
                <a:gd name="connsiteX176" fmla="*/ 51565 w 572724"/>
                <a:gd name="connsiteY176" fmla="*/ 123751 h 608067"/>
                <a:gd name="connsiteX177" fmla="*/ 46550 w 572724"/>
                <a:gd name="connsiteY177" fmla="*/ 124753 h 608067"/>
                <a:gd name="connsiteX178" fmla="*/ 40533 w 572724"/>
                <a:gd name="connsiteY178" fmla="*/ 136786 h 608067"/>
                <a:gd name="connsiteX179" fmla="*/ 39530 w 572724"/>
                <a:gd name="connsiteY179" fmla="*/ 144808 h 608067"/>
                <a:gd name="connsiteX180" fmla="*/ 31506 w 572724"/>
                <a:gd name="connsiteY180" fmla="*/ 156841 h 608067"/>
                <a:gd name="connsiteX181" fmla="*/ 29501 w 572724"/>
                <a:gd name="connsiteY181" fmla="*/ 154835 h 608067"/>
                <a:gd name="connsiteX182" fmla="*/ 19471 w 572724"/>
                <a:gd name="connsiteY182" fmla="*/ 173887 h 608067"/>
                <a:gd name="connsiteX183" fmla="*/ 16462 w 572724"/>
                <a:gd name="connsiteY183" fmla="*/ 194944 h 608067"/>
                <a:gd name="connsiteX184" fmla="*/ 17465 w 572724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4" h="608067">
                  <a:moveTo>
                    <a:pt x="17465" y="206977"/>
                  </a:moveTo>
                  <a:lnTo>
                    <a:pt x="15459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1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7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59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2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3" y="579991"/>
                    <a:pt x="430675" y="578988"/>
                    <a:pt x="434687" y="576983"/>
                  </a:cubicBezTo>
                  <a:cubicBezTo>
                    <a:pt x="444717" y="569964"/>
                    <a:pt x="467784" y="555925"/>
                    <a:pt x="476810" y="546901"/>
                  </a:cubicBezTo>
                  <a:cubicBezTo>
                    <a:pt x="475808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2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40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7" y="319282"/>
                    <a:pt x="575098" y="283184"/>
                    <a:pt x="571087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1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9" y="76623"/>
                    <a:pt x="376517" y="76623"/>
                    <a:pt x="372505" y="76623"/>
                  </a:cubicBezTo>
                  <a:cubicBezTo>
                    <a:pt x="368493" y="76623"/>
                    <a:pt x="363479" y="76623"/>
                    <a:pt x="357461" y="77625"/>
                  </a:cubicBezTo>
                  <a:cubicBezTo>
                    <a:pt x="360470" y="78628"/>
                    <a:pt x="355455" y="79631"/>
                    <a:pt x="350441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5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2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9" y="546901"/>
                    <a:pt x="372505" y="548906"/>
                    <a:pt x="361473" y="550912"/>
                  </a:cubicBezTo>
                  <a:cubicBezTo>
                    <a:pt x="350441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9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7"/>
                    <a:pt x="64604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7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3" y="68601"/>
                    <a:pt x="165900" y="70606"/>
                    <a:pt x="171918" y="64590"/>
                  </a:cubicBezTo>
                  <a:cubicBezTo>
                    <a:pt x="171918" y="63587"/>
                    <a:pt x="173924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1" y="56568"/>
                  </a:cubicBezTo>
                  <a:cubicBezTo>
                    <a:pt x="190973" y="55565"/>
                    <a:pt x="197994" y="49549"/>
                    <a:pt x="206017" y="45538"/>
                  </a:cubicBezTo>
                  <a:cubicBezTo>
                    <a:pt x="213038" y="40524"/>
                    <a:pt x="221061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9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6" y="25483"/>
                    <a:pt x="273214" y="26486"/>
                  </a:cubicBezTo>
                  <a:cubicBezTo>
                    <a:pt x="269203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3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50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50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50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6" y="22475"/>
                    <a:pt x="296282" y="23478"/>
                  </a:cubicBezTo>
                  <a:cubicBezTo>
                    <a:pt x="291267" y="24481"/>
                    <a:pt x="285250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0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50" y="7434"/>
                    <a:pt x="284247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5" y="6432"/>
                    <a:pt x="246135" y="4426"/>
                  </a:cubicBezTo>
                  <a:cubicBezTo>
                    <a:pt x="241120" y="2421"/>
                    <a:pt x="255162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1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4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4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3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6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9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5" y="87652"/>
                    <a:pt x="80650" y="85647"/>
                    <a:pt x="78645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3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8468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5" name="Gruppe 24">
            <a:extLst>
              <a:ext uri="{FF2B5EF4-FFF2-40B4-BE49-F238E27FC236}">
                <a16:creationId xmlns:a16="http://schemas.microsoft.com/office/drawing/2014/main" id="{18CE61A2-D431-9A4C-8373-1E05182494CA}"/>
              </a:ext>
            </a:extLst>
          </p:cNvPr>
          <p:cNvGrpSpPr/>
          <p:nvPr userDrawn="1"/>
        </p:nvGrpSpPr>
        <p:grpSpPr>
          <a:xfrm>
            <a:off x="1308676" y="4692804"/>
            <a:ext cx="577040" cy="833754"/>
            <a:chOff x="3696530" y="4107267"/>
            <a:chExt cx="577040" cy="833754"/>
          </a:xfrm>
        </p:grpSpPr>
        <p:sp>
          <p:nvSpPr>
            <p:cNvPr id="15" name="Tekstfelt 14">
              <a:extLst>
                <a:ext uri="{FF2B5EF4-FFF2-40B4-BE49-F238E27FC236}">
                  <a16:creationId xmlns:a16="http://schemas.microsoft.com/office/drawing/2014/main" id="{F99AFC48-91AC-5F4D-B792-9F3BC4563246}"/>
                </a:ext>
              </a:extLst>
            </p:cNvPr>
            <p:cNvSpPr txBox="1"/>
            <p:nvPr/>
          </p:nvSpPr>
          <p:spPr>
            <a:xfrm>
              <a:off x="3776318" y="4107267"/>
              <a:ext cx="497252" cy="8337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4818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4</a:t>
              </a:r>
            </a:p>
          </p:txBody>
        </p:sp>
        <p:sp>
          <p:nvSpPr>
            <p:cNvPr id="21" name="Kombinationstegning 20">
              <a:extLst>
                <a:ext uri="{FF2B5EF4-FFF2-40B4-BE49-F238E27FC236}">
                  <a16:creationId xmlns:a16="http://schemas.microsoft.com/office/drawing/2014/main" id="{37E26D19-BA0B-7B4A-98E7-0A65C7D39993}"/>
                </a:ext>
              </a:extLst>
            </p:cNvPr>
            <p:cNvSpPr/>
            <p:nvPr/>
          </p:nvSpPr>
          <p:spPr>
            <a:xfrm>
              <a:off x="3696530" y="4164662"/>
              <a:ext cx="572723" cy="608067"/>
            </a:xfrm>
            <a:custGeom>
              <a:avLst/>
              <a:gdLst>
                <a:gd name="connsiteX0" fmla="*/ 17465 w 572723"/>
                <a:gd name="connsiteY0" fmla="*/ 206977 h 608067"/>
                <a:gd name="connsiteX1" fmla="*/ 15460 w 572723"/>
                <a:gd name="connsiteY1" fmla="*/ 213996 h 608067"/>
                <a:gd name="connsiteX2" fmla="*/ 40533 w 572723"/>
                <a:gd name="connsiteY2" fmla="*/ 142802 h 608067"/>
                <a:gd name="connsiteX3" fmla="*/ 6433 w 572723"/>
                <a:gd name="connsiteY3" fmla="*/ 223020 h 608067"/>
                <a:gd name="connsiteX4" fmla="*/ 8439 w 572723"/>
                <a:gd name="connsiteY4" fmla="*/ 300230 h 608067"/>
                <a:gd name="connsiteX5" fmla="*/ 415 w 572723"/>
                <a:gd name="connsiteY5" fmla="*/ 331315 h 608067"/>
                <a:gd name="connsiteX6" fmla="*/ 1418 w 572723"/>
                <a:gd name="connsiteY6" fmla="*/ 359391 h 608067"/>
                <a:gd name="connsiteX7" fmla="*/ 10445 w 572723"/>
                <a:gd name="connsiteY7" fmla="*/ 392481 h 608067"/>
                <a:gd name="connsiteX8" fmla="*/ 4427 w 572723"/>
                <a:gd name="connsiteY8" fmla="*/ 369418 h 608067"/>
                <a:gd name="connsiteX9" fmla="*/ 10445 w 572723"/>
                <a:gd name="connsiteY9" fmla="*/ 392481 h 608067"/>
                <a:gd name="connsiteX10" fmla="*/ 29501 w 572723"/>
                <a:gd name="connsiteY10" fmla="*/ 445626 h 608067"/>
                <a:gd name="connsiteX11" fmla="*/ 60592 w 572723"/>
                <a:gd name="connsiteY11" fmla="*/ 496765 h 608067"/>
                <a:gd name="connsiteX12" fmla="*/ 156873 w 572723"/>
                <a:gd name="connsiteY12" fmla="*/ 569964 h 608067"/>
                <a:gd name="connsiteX13" fmla="*/ 257167 w 572723"/>
                <a:gd name="connsiteY13" fmla="*/ 601048 h 608067"/>
                <a:gd name="connsiteX14" fmla="*/ 317343 w 572723"/>
                <a:gd name="connsiteY14" fmla="*/ 608067 h 608067"/>
                <a:gd name="connsiteX15" fmla="*/ 364481 w 572723"/>
                <a:gd name="connsiteY15" fmla="*/ 607064 h 608067"/>
                <a:gd name="connsiteX16" fmla="*/ 385543 w 572723"/>
                <a:gd name="connsiteY16" fmla="*/ 604056 h 608067"/>
                <a:gd name="connsiteX17" fmla="*/ 362475 w 572723"/>
                <a:gd name="connsiteY17" fmla="*/ 606062 h 608067"/>
                <a:gd name="connsiteX18" fmla="*/ 438699 w 572723"/>
                <a:gd name="connsiteY18" fmla="*/ 578988 h 608067"/>
                <a:gd name="connsiteX19" fmla="*/ 422652 w 572723"/>
                <a:gd name="connsiteY19" fmla="*/ 580994 h 608067"/>
                <a:gd name="connsiteX20" fmla="*/ 434687 w 572723"/>
                <a:gd name="connsiteY20" fmla="*/ 576983 h 608067"/>
                <a:gd name="connsiteX21" fmla="*/ 476810 w 572723"/>
                <a:gd name="connsiteY21" fmla="*/ 546901 h 608067"/>
                <a:gd name="connsiteX22" fmla="*/ 490852 w 572723"/>
                <a:gd name="connsiteY22" fmla="*/ 537876 h 608067"/>
                <a:gd name="connsiteX23" fmla="*/ 487843 w 572723"/>
                <a:gd name="connsiteY23" fmla="*/ 538879 h 608067"/>
                <a:gd name="connsiteX24" fmla="*/ 521943 w 572723"/>
                <a:gd name="connsiteY24" fmla="*/ 498770 h 608067"/>
                <a:gd name="connsiteX25" fmla="*/ 543004 w 572723"/>
                <a:gd name="connsiteY25" fmla="*/ 454650 h 608067"/>
                <a:gd name="connsiteX26" fmla="*/ 547016 w 572723"/>
                <a:gd name="connsiteY26" fmla="*/ 446628 h 608067"/>
                <a:gd name="connsiteX27" fmla="*/ 553033 w 572723"/>
                <a:gd name="connsiteY27" fmla="*/ 419555 h 608067"/>
                <a:gd name="connsiteX28" fmla="*/ 559051 w 572723"/>
                <a:gd name="connsiteY28" fmla="*/ 411533 h 608067"/>
                <a:gd name="connsiteX29" fmla="*/ 566072 w 572723"/>
                <a:gd name="connsiteY29" fmla="*/ 352372 h 608067"/>
                <a:gd name="connsiteX30" fmla="*/ 571086 w 572723"/>
                <a:gd name="connsiteY30" fmla="*/ 246083 h 608067"/>
                <a:gd name="connsiteX31" fmla="*/ 528963 w 572723"/>
                <a:gd name="connsiteY31" fmla="*/ 144808 h 608067"/>
                <a:gd name="connsiteX32" fmla="*/ 528963 w 572723"/>
                <a:gd name="connsiteY32" fmla="*/ 146813 h 608067"/>
                <a:gd name="connsiteX33" fmla="*/ 469790 w 572723"/>
                <a:gd name="connsiteY33" fmla="*/ 96677 h 608067"/>
                <a:gd name="connsiteX34" fmla="*/ 437696 w 572723"/>
                <a:gd name="connsiteY34" fmla="*/ 83642 h 608067"/>
                <a:gd name="connsiteX35" fmla="*/ 422652 w 572723"/>
                <a:gd name="connsiteY35" fmla="*/ 80633 h 608067"/>
                <a:gd name="connsiteX36" fmla="*/ 412622 w 572723"/>
                <a:gd name="connsiteY36" fmla="*/ 80633 h 608067"/>
                <a:gd name="connsiteX37" fmla="*/ 397578 w 572723"/>
                <a:gd name="connsiteY37" fmla="*/ 77625 h 608067"/>
                <a:gd name="connsiteX38" fmla="*/ 384540 w 572723"/>
                <a:gd name="connsiteY38" fmla="*/ 76623 h 608067"/>
                <a:gd name="connsiteX39" fmla="*/ 372505 w 572723"/>
                <a:gd name="connsiteY39" fmla="*/ 76623 h 608067"/>
                <a:gd name="connsiteX40" fmla="*/ 357461 w 572723"/>
                <a:gd name="connsiteY40" fmla="*/ 77625 h 608067"/>
                <a:gd name="connsiteX41" fmla="*/ 350440 w 572723"/>
                <a:gd name="connsiteY41" fmla="*/ 80633 h 608067"/>
                <a:gd name="connsiteX42" fmla="*/ 347431 w 572723"/>
                <a:gd name="connsiteY42" fmla="*/ 82639 h 608067"/>
                <a:gd name="connsiteX43" fmla="*/ 374511 w 572723"/>
                <a:gd name="connsiteY43" fmla="*/ 85647 h 608067"/>
                <a:gd name="connsiteX44" fmla="*/ 374511 w 572723"/>
                <a:gd name="connsiteY44" fmla="*/ 84644 h 608067"/>
                <a:gd name="connsiteX45" fmla="*/ 451737 w 572723"/>
                <a:gd name="connsiteY45" fmla="*/ 115729 h 608067"/>
                <a:gd name="connsiteX46" fmla="*/ 507901 w 572723"/>
                <a:gd name="connsiteY46" fmla="*/ 175892 h 608067"/>
                <a:gd name="connsiteX47" fmla="*/ 528963 w 572723"/>
                <a:gd name="connsiteY47" fmla="*/ 228034 h 608067"/>
                <a:gd name="connsiteX48" fmla="*/ 531972 w 572723"/>
                <a:gd name="connsiteY48" fmla="*/ 288198 h 608067"/>
                <a:gd name="connsiteX49" fmla="*/ 524951 w 572723"/>
                <a:gd name="connsiteY49" fmla="*/ 357386 h 608067"/>
                <a:gd name="connsiteX50" fmla="*/ 513919 w 572723"/>
                <a:gd name="connsiteY50" fmla="*/ 420557 h 608067"/>
                <a:gd name="connsiteX51" fmla="*/ 503890 w 572723"/>
                <a:gd name="connsiteY51" fmla="*/ 441615 h 608067"/>
                <a:gd name="connsiteX52" fmla="*/ 477813 w 572723"/>
                <a:gd name="connsiteY52" fmla="*/ 489746 h 608067"/>
                <a:gd name="connsiteX53" fmla="*/ 434687 w 572723"/>
                <a:gd name="connsiteY53" fmla="*/ 527849 h 608067"/>
                <a:gd name="connsiteX54" fmla="*/ 436693 w 572723"/>
                <a:gd name="connsiteY54" fmla="*/ 526846 h 608067"/>
                <a:gd name="connsiteX55" fmla="*/ 385543 w 572723"/>
                <a:gd name="connsiteY55" fmla="*/ 545898 h 608067"/>
                <a:gd name="connsiteX56" fmla="*/ 381531 w 572723"/>
                <a:gd name="connsiteY56" fmla="*/ 547904 h 608067"/>
                <a:gd name="connsiteX57" fmla="*/ 361473 w 572723"/>
                <a:gd name="connsiteY57" fmla="*/ 550912 h 608067"/>
                <a:gd name="connsiteX58" fmla="*/ 320352 w 572723"/>
                <a:gd name="connsiteY58" fmla="*/ 556928 h 608067"/>
                <a:gd name="connsiteX59" fmla="*/ 254158 w 572723"/>
                <a:gd name="connsiteY59" fmla="*/ 553920 h 608067"/>
                <a:gd name="connsiteX60" fmla="*/ 247138 w 572723"/>
                <a:gd name="connsiteY60" fmla="*/ 552917 h 608067"/>
                <a:gd name="connsiteX61" fmla="*/ 184956 w 572723"/>
                <a:gd name="connsiteY61" fmla="*/ 529855 h 608067"/>
                <a:gd name="connsiteX62" fmla="*/ 133806 w 572723"/>
                <a:gd name="connsiteY62" fmla="*/ 500776 h 608067"/>
                <a:gd name="connsiteX63" fmla="*/ 112744 w 572723"/>
                <a:gd name="connsiteY63" fmla="*/ 490748 h 608067"/>
                <a:gd name="connsiteX64" fmla="*/ 100709 w 572723"/>
                <a:gd name="connsiteY64" fmla="*/ 480721 h 608067"/>
                <a:gd name="connsiteX65" fmla="*/ 87671 w 572723"/>
                <a:gd name="connsiteY65" fmla="*/ 464677 h 608067"/>
                <a:gd name="connsiteX66" fmla="*/ 64603 w 572723"/>
                <a:gd name="connsiteY66" fmla="*/ 425571 h 608067"/>
                <a:gd name="connsiteX67" fmla="*/ 56580 w 572723"/>
                <a:gd name="connsiteY67" fmla="*/ 407522 h 608067"/>
                <a:gd name="connsiteX68" fmla="*/ 55577 w 572723"/>
                <a:gd name="connsiteY68" fmla="*/ 395489 h 608067"/>
                <a:gd name="connsiteX69" fmla="*/ 51565 w 572723"/>
                <a:gd name="connsiteY69" fmla="*/ 369418 h 608067"/>
                <a:gd name="connsiteX70" fmla="*/ 47553 w 572723"/>
                <a:gd name="connsiteY70" fmla="*/ 347359 h 608067"/>
                <a:gd name="connsiteX71" fmla="*/ 43542 w 572723"/>
                <a:gd name="connsiteY71" fmla="*/ 325299 h 608067"/>
                <a:gd name="connsiteX72" fmla="*/ 43542 w 572723"/>
                <a:gd name="connsiteY72" fmla="*/ 328307 h 608067"/>
                <a:gd name="connsiteX73" fmla="*/ 48556 w 572723"/>
                <a:gd name="connsiteY73" fmla="*/ 280176 h 608067"/>
                <a:gd name="connsiteX74" fmla="*/ 61594 w 572723"/>
                <a:gd name="connsiteY74" fmla="*/ 205974 h 608067"/>
                <a:gd name="connsiteX75" fmla="*/ 89677 w 572723"/>
                <a:gd name="connsiteY75" fmla="*/ 139794 h 608067"/>
                <a:gd name="connsiteX76" fmla="*/ 82656 w 572723"/>
                <a:gd name="connsiteY76" fmla="*/ 147816 h 608067"/>
                <a:gd name="connsiteX77" fmla="*/ 132803 w 572723"/>
                <a:gd name="connsiteY77" fmla="*/ 87653 h 608067"/>
                <a:gd name="connsiteX78" fmla="*/ 143835 w 572723"/>
                <a:gd name="connsiteY78" fmla="*/ 81636 h 608067"/>
                <a:gd name="connsiteX79" fmla="*/ 151859 w 572723"/>
                <a:gd name="connsiteY79" fmla="*/ 74617 h 608067"/>
                <a:gd name="connsiteX80" fmla="*/ 153865 w 572723"/>
                <a:gd name="connsiteY80" fmla="*/ 75620 h 608067"/>
                <a:gd name="connsiteX81" fmla="*/ 171917 w 572723"/>
                <a:gd name="connsiteY81" fmla="*/ 64590 h 608067"/>
                <a:gd name="connsiteX82" fmla="*/ 176932 w 572723"/>
                <a:gd name="connsiteY82" fmla="*/ 60579 h 608067"/>
                <a:gd name="connsiteX83" fmla="*/ 184956 w 572723"/>
                <a:gd name="connsiteY83" fmla="*/ 58573 h 608067"/>
                <a:gd name="connsiteX84" fmla="*/ 184956 w 572723"/>
                <a:gd name="connsiteY84" fmla="*/ 58573 h 608067"/>
                <a:gd name="connsiteX85" fmla="*/ 189970 w 572723"/>
                <a:gd name="connsiteY85" fmla="*/ 56568 h 608067"/>
                <a:gd name="connsiteX86" fmla="*/ 206018 w 572723"/>
                <a:gd name="connsiteY86" fmla="*/ 45538 h 608067"/>
                <a:gd name="connsiteX87" fmla="*/ 223067 w 572723"/>
                <a:gd name="connsiteY87" fmla="*/ 35511 h 608067"/>
                <a:gd name="connsiteX88" fmla="*/ 225073 w 572723"/>
                <a:gd name="connsiteY88" fmla="*/ 35511 h 608067"/>
                <a:gd name="connsiteX89" fmla="*/ 228082 w 572723"/>
                <a:gd name="connsiteY89" fmla="*/ 32503 h 608067"/>
                <a:gd name="connsiteX90" fmla="*/ 234100 w 572723"/>
                <a:gd name="connsiteY90" fmla="*/ 31500 h 608067"/>
                <a:gd name="connsiteX91" fmla="*/ 233097 w 572723"/>
                <a:gd name="connsiteY91" fmla="*/ 31500 h 608067"/>
                <a:gd name="connsiteX92" fmla="*/ 239114 w 572723"/>
                <a:gd name="connsiteY92" fmla="*/ 30497 h 608067"/>
                <a:gd name="connsiteX93" fmla="*/ 240117 w 572723"/>
                <a:gd name="connsiteY93" fmla="*/ 32503 h 608067"/>
                <a:gd name="connsiteX94" fmla="*/ 250147 w 572723"/>
                <a:gd name="connsiteY94" fmla="*/ 30497 h 608067"/>
                <a:gd name="connsiteX95" fmla="*/ 219056 w 572723"/>
                <a:gd name="connsiteY95" fmla="*/ 31500 h 608067"/>
                <a:gd name="connsiteX96" fmla="*/ 234100 w 572723"/>
                <a:gd name="connsiteY96" fmla="*/ 27489 h 608067"/>
                <a:gd name="connsiteX97" fmla="*/ 245132 w 572723"/>
                <a:gd name="connsiteY97" fmla="*/ 27489 h 608067"/>
                <a:gd name="connsiteX98" fmla="*/ 258170 w 572723"/>
                <a:gd name="connsiteY98" fmla="*/ 27489 h 608067"/>
                <a:gd name="connsiteX99" fmla="*/ 265191 w 572723"/>
                <a:gd name="connsiteY99" fmla="*/ 25483 h 608067"/>
                <a:gd name="connsiteX100" fmla="*/ 273214 w 572723"/>
                <a:gd name="connsiteY100" fmla="*/ 26486 h 608067"/>
                <a:gd name="connsiteX101" fmla="*/ 261179 w 572723"/>
                <a:gd name="connsiteY101" fmla="*/ 27489 h 608067"/>
                <a:gd name="connsiteX102" fmla="*/ 266194 w 572723"/>
                <a:gd name="connsiteY102" fmla="*/ 28492 h 608067"/>
                <a:gd name="connsiteX103" fmla="*/ 273214 w 572723"/>
                <a:gd name="connsiteY103" fmla="*/ 28492 h 608067"/>
                <a:gd name="connsiteX104" fmla="*/ 287255 w 572723"/>
                <a:gd name="connsiteY104" fmla="*/ 28492 h 608067"/>
                <a:gd name="connsiteX105" fmla="*/ 293273 w 572723"/>
                <a:gd name="connsiteY105" fmla="*/ 31500 h 608067"/>
                <a:gd name="connsiteX106" fmla="*/ 297285 w 572723"/>
                <a:gd name="connsiteY106" fmla="*/ 30497 h 608067"/>
                <a:gd name="connsiteX107" fmla="*/ 289261 w 572723"/>
                <a:gd name="connsiteY107" fmla="*/ 25483 h 608067"/>
                <a:gd name="connsiteX108" fmla="*/ 300294 w 572723"/>
                <a:gd name="connsiteY108" fmla="*/ 27489 h 608067"/>
                <a:gd name="connsiteX109" fmla="*/ 300294 w 572723"/>
                <a:gd name="connsiteY109" fmla="*/ 25483 h 608067"/>
                <a:gd name="connsiteX110" fmla="*/ 310323 w 572723"/>
                <a:gd name="connsiteY110" fmla="*/ 27489 h 608067"/>
                <a:gd name="connsiteX111" fmla="*/ 307314 w 572723"/>
                <a:gd name="connsiteY111" fmla="*/ 26486 h 608067"/>
                <a:gd name="connsiteX112" fmla="*/ 296282 w 572723"/>
                <a:gd name="connsiteY112" fmla="*/ 28492 h 608067"/>
                <a:gd name="connsiteX113" fmla="*/ 286252 w 572723"/>
                <a:gd name="connsiteY113" fmla="*/ 30497 h 608067"/>
                <a:gd name="connsiteX114" fmla="*/ 299291 w 572723"/>
                <a:gd name="connsiteY114" fmla="*/ 27489 h 608067"/>
                <a:gd name="connsiteX115" fmla="*/ 311326 w 572723"/>
                <a:gd name="connsiteY115" fmla="*/ 26486 h 608067"/>
                <a:gd name="connsiteX116" fmla="*/ 311326 w 572723"/>
                <a:gd name="connsiteY116" fmla="*/ 23478 h 608067"/>
                <a:gd name="connsiteX117" fmla="*/ 307314 w 572723"/>
                <a:gd name="connsiteY117" fmla="*/ 24481 h 608067"/>
                <a:gd name="connsiteX118" fmla="*/ 303302 w 572723"/>
                <a:gd name="connsiteY118" fmla="*/ 20470 h 608067"/>
                <a:gd name="connsiteX119" fmla="*/ 296282 w 572723"/>
                <a:gd name="connsiteY119" fmla="*/ 23478 h 608067"/>
                <a:gd name="connsiteX120" fmla="*/ 288258 w 572723"/>
                <a:gd name="connsiteY120" fmla="*/ 25483 h 608067"/>
                <a:gd name="connsiteX121" fmla="*/ 286252 w 572723"/>
                <a:gd name="connsiteY121" fmla="*/ 24481 h 608067"/>
                <a:gd name="connsiteX122" fmla="*/ 298288 w 572723"/>
                <a:gd name="connsiteY122" fmla="*/ 25483 h 608067"/>
                <a:gd name="connsiteX123" fmla="*/ 305308 w 572723"/>
                <a:gd name="connsiteY123" fmla="*/ 24481 h 608067"/>
                <a:gd name="connsiteX124" fmla="*/ 306311 w 572723"/>
                <a:gd name="connsiteY124" fmla="*/ 24481 h 608067"/>
                <a:gd name="connsiteX125" fmla="*/ 312329 w 572723"/>
                <a:gd name="connsiteY125" fmla="*/ 23478 h 608067"/>
                <a:gd name="connsiteX126" fmla="*/ 310323 w 572723"/>
                <a:gd name="connsiteY126" fmla="*/ 16459 h 608067"/>
                <a:gd name="connsiteX127" fmla="*/ 309320 w 572723"/>
                <a:gd name="connsiteY127" fmla="*/ 9440 h 608067"/>
                <a:gd name="connsiteX128" fmla="*/ 298288 w 572723"/>
                <a:gd name="connsiteY128" fmla="*/ 10443 h 608067"/>
                <a:gd name="connsiteX129" fmla="*/ 288258 w 572723"/>
                <a:gd name="connsiteY129" fmla="*/ 6432 h 608067"/>
                <a:gd name="connsiteX130" fmla="*/ 284246 w 572723"/>
                <a:gd name="connsiteY130" fmla="*/ 7434 h 608067"/>
                <a:gd name="connsiteX131" fmla="*/ 277226 w 572723"/>
                <a:gd name="connsiteY131" fmla="*/ 4426 h 608067"/>
                <a:gd name="connsiteX132" fmla="*/ 266194 w 572723"/>
                <a:gd name="connsiteY132" fmla="*/ 4426 h 608067"/>
                <a:gd name="connsiteX133" fmla="*/ 263185 w 572723"/>
                <a:gd name="connsiteY133" fmla="*/ 6432 h 608067"/>
                <a:gd name="connsiteX134" fmla="*/ 243126 w 572723"/>
                <a:gd name="connsiteY134" fmla="*/ 7434 h 608067"/>
                <a:gd name="connsiteX135" fmla="*/ 239114 w 572723"/>
                <a:gd name="connsiteY135" fmla="*/ 2421 h 608067"/>
                <a:gd name="connsiteX136" fmla="*/ 246135 w 572723"/>
                <a:gd name="connsiteY136" fmla="*/ 4426 h 608067"/>
                <a:gd name="connsiteX137" fmla="*/ 256164 w 572723"/>
                <a:gd name="connsiteY137" fmla="*/ 415 h 608067"/>
                <a:gd name="connsiteX138" fmla="*/ 241120 w 572723"/>
                <a:gd name="connsiteY138" fmla="*/ 1418 h 608067"/>
                <a:gd name="connsiteX139" fmla="*/ 242123 w 572723"/>
                <a:gd name="connsiteY139" fmla="*/ 1418 h 608067"/>
                <a:gd name="connsiteX140" fmla="*/ 222064 w 572723"/>
                <a:gd name="connsiteY140" fmla="*/ 4426 h 608067"/>
                <a:gd name="connsiteX141" fmla="*/ 224070 w 572723"/>
                <a:gd name="connsiteY141" fmla="*/ 1418 h 608067"/>
                <a:gd name="connsiteX142" fmla="*/ 217050 w 572723"/>
                <a:gd name="connsiteY142" fmla="*/ 2421 h 608067"/>
                <a:gd name="connsiteX143" fmla="*/ 217050 w 572723"/>
                <a:gd name="connsiteY143" fmla="*/ 3424 h 608067"/>
                <a:gd name="connsiteX144" fmla="*/ 208023 w 572723"/>
                <a:gd name="connsiteY144" fmla="*/ 5429 h 608067"/>
                <a:gd name="connsiteX145" fmla="*/ 191976 w 572723"/>
                <a:gd name="connsiteY145" fmla="*/ 13451 h 608067"/>
                <a:gd name="connsiteX146" fmla="*/ 177935 w 572723"/>
                <a:gd name="connsiteY146" fmla="*/ 22475 h 608067"/>
                <a:gd name="connsiteX147" fmla="*/ 167906 w 572723"/>
                <a:gd name="connsiteY147" fmla="*/ 26486 h 608067"/>
                <a:gd name="connsiteX148" fmla="*/ 173923 w 572723"/>
                <a:gd name="connsiteY148" fmla="*/ 23478 h 608067"/>
                <a:gd name="connsiteX149" fmla="*/ 186961 w 572723"/>
                <a:gd name="connsiteY149" fmla="*/ 15456 h 608067"/>
                <a:gd name="connsiteX150" fmla="*/ 200000 w 572723"/>
                <a:gd name="connsiteY150" fmla="*/ 8437 h 608067"/>
                <a:gd name="connsiteX151" fmla="*/ 203009 w 572723"/>
                <a:gd name="connsiteY151" fmla="*/ 6432 h 608067"/>
                <a:gd name="connsiteX152" fmla="*/ 192979 w 572723"/>
                <a:gd name="connsiteY152" fmla="*/ 10443 h 608067"/>
                <a:gd name="connsiteX153" fmla="*/ 175929 w 572723"/>
                <a:gd name="connsiteY153" fmla="*/ 19467 h 608067"/>
                <a:gd name="connsiteX154" fmla="*/ 159882 w 572723"/>
                <a:gd name="connsiteY154" fmla="*/ 29494 h 608067"/>
                <a:gd name="connsiteX155" fmla="*/ 151859 w 572723"/>
                <a:gd name="connsiteY155" fmla="*/ 34508 h 608067"/>
                <a:gd name="connsiteX156" fmla="*/ 146844 w 572723"/>
                <a:gd name="connsiteY156" fmla="*/ 39522 h 608067"/>
                <a:gd name="connsiteX157" fmla="*/ 142832 w 572723"/>
                <a:gd name="connsiteY157" fmla="*/ 38519 h 608067"/>
                <a:gd name="connsiteX158" fmla="*/ 141829 w 572723"/>
                <a:gd name="connsiteY158" fmla="*/ 39522 h 608067"/>
                <a:gd name="connsiteX159" fmla="*/ 137818 w 572723"/>
                <a:gd name="connsiteY159" fmla="*/ 40524 h 608067"/>
                <a:gd name="connsiteX160" fmla="*/ 124780 w 572723"/>
                <a:gd name="connsiteY160" fmla="*/ 50552 h 608067"/>
                <a:gd name="connsiteX161" fmla="*/ 112744 w 572723"/>
                <a:gd name="connsiteY161" fmla="*/ 62584 h 608067"/>
                <a:gd name="connsiteX162" fmla="*/ 118762 w 572723"/>
                <a:gd name="connsiteY162" fmla="*/ 50552 h 608067"/>
                <a:gd name="connsiteX163" fmla="*/ 119765 w 572723"/>
                <a:gd name="connsiteY163" fmla="*/ 50552 h 608067"/>
                <a:gd name="connsiteX164" fmla="*/ 122774 w 572723"/>
                <a:gd name="connsiteY164" fmla="*/ 45538 h 608067"/>
                <a:gd name="connsiteX165" fmla="*/ 109736 w 572723"/>
                <a:gd name="connsiteY165" fmla="*/ 57571 h 608067"/>
                <a:gd name="connsiteX166" fmla="*/ 106727 w 572723"/>
                <a:gd name="connsiteY166" fmla="*/ 59576 h 608067"/>
                <a:gd name="connsiteX167" fmla="*/ 106727 w 572723"/>
                <a:gd name="connsiteY167" fmla="*/ 59576 h 608067"/>
                <a:gd name="connsiteX168" fmla="*/ 104721 w 572723"/>
                <a:gd name="connsiteY168" fmla="*/ 59576 h 608067"/>
                <a:gd name="connsiteX169" fmla="*/ 104721 w 572723"/>
                <a:gd name="connsiteY169" fmla="*/ 58573 h 608067"/>
                <a:gd name="connsiteX170" fmla="*/ 93688 w 572723"/>
                <a:gd name="connsiteY170" fmla="*/ 68601 h 608067"/>
                <a:gd name="connsiteX171" fmla="*/ 80650 w 572723"/>
                <a:gd name="connsiteY171" fmla="*/ 84644 h 608067"/>
                <a:gd name="connsiteX172" fmla="*/ 78644 w 572723"/>
                <a:gd name="connsiteY172" fmla="*/ 88655 h 608067"/>
                <a:gd name="connsiteX173" fmla="*/ 58586 w 572723"/>
                <a:gd name="connsiteY173" fmla="*/ 112721 h 608067"/>
                <a:gd name="connsiteX174" fmla="*/ 61594 w 572723"/>
                <a:gd name="connsiteY174" fmla="*/ 113723 h 608067"/>
                <a:gd name="connsiteX175" fmla="*/ 56580 w 572723"/>
                <a:gd name="connsiteY175" fmla="*/ 121745 h 608067"/>
                <a:gd name="connsiteX176" fmla="*/ 51565 w 572723"/>
                <a:gd name="connsiteY176" fmla="*/ 123751 h 608067"/>
                <a:gd name="connsiteX177" fmla="*/ 46550 w 572723"/>
                <a:gd name="connsiteY177" fmla="*/ 124753 h 608067"/>
                <a:gd name="connsiteX178" fmla="*/ 40533 w 572723"/>
                <a:gd name="connsiteY178" fmla="*/ 136786 h 608067"/>
                <a:gd name="connsiteX179" fmla="*/ 39530 w 572723"/>
                <a:gd name="connsiteY179" fmla="*/ 144808 h 608067"/>
                <a:gd name="connsiteX180" fmla="*/ 31506 w 572723"/>
                <a:gd name="connsiteY180" fmla="*/ 156841 h 608067"/>
                <a:gd name="connsiteX181" fmla="*/ 29501 w 572723"/>
                <a:gd name="connsiteY181" fmla="*/ 154835 h 608067"/>
                <a:gd name="connsiteX182" fmla="*/ 19471 w 572723"/>
                <a:gd name="connsiteY182" fmla="*/ 173887 h 608067"/>
                <a:gd name="connsiteX183" fmla="*/ 16462 w 572723"/>
                <a:gd name="connsiteY183" fmla="*/ 194944 h 608067"/>
                <a:gd name="connsiteX184" fmla="*/ 17465 w 572723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0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7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3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1" y="607064"/>
                  </a:cubicBezTo>
                  <a:cubicBezTo>
                    <a:pt x="371502" y="606062"/>
                    <a:pt x="378522" y="606062"/>
                    <a:pt x="385543" y="604056"/>
                  </a:cubicBezTo>
                  <a:cubicBezTo>
                    <a:pt x="373508" y="606062"/>
                    <a:pt x="373508" y="605059"/>
                    <a:pt x="362475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6" y="569964"/>
                    <a:pt x="467784" y="555925"/>
                    <a:pt x="476810" y="546901"/>
                  </a:cubicBezTo>
                  <a:cubicBezTo>
                    <a:pt x="475807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3" y="498770"/>
                  </a:cubicBezTo>
                  <a:cubicBezTo>
                    <a:pt x="530969" y="483729"/>
                    <a:pt x="537989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3" y="419555"/>
                  </a:cubicBezTo>
                  <a:cubicBezTo>
                    <a:pt x="555039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6" y="319282"/>
                    <a:pt x="575098" y="283184"/>
                    <a:pt x="571086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0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8" y="76623"/>
                    <a:pt x="376517" y="76623"/>
                    <a:pt x="372505" y="76623"/>
                  </a:cubicBezTo>
                  <a:cubicBezTo>
                    <a:pt x="368493" y="76623"/>
                    <a:pt x="363478" y="76623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1" y="82639"/>
                  </a:cubicBezTo>
                  <a:cubicBezTo>
                    <a:pt x="361473" y="85647"/>
                    <a:pt x="362475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4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3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8" y="553920"/>
                  </a:cubicBezTo>
                  <a:cubicBezTo>
                    <a:pt x="252152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2" y="462672"/>
                    <a:pt x="84662" y="454650"/>
                    <a:pt x="87671" y="464677"/>
                  </a:cubicBezTo>
                  <a:cubicBezTo>
                    <a:pt x="76638" y="452645"/>
                    <a:pt x="69618" y="438607"/>
                    <a:pt x="64603" y="425571"/>
                  </a:cubicBezTo>
                  <a:cubicBezTo>
                    <a:pt x="61594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9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4" y="205974"/>
                  </a:cubicBezTo>
                  <a:cubicBezTo>
                    <a:pt x="67612" y="181909"/>
                    <a:pt x="77641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3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7" y="64590"/>
                  </a:cubicBezTo>
                  <a:cubicBezTo>
                    <a:pt x="171917" y="63587"/>
                    <a:pt x="173923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1" y="57571"/>
                    <a:pt x="187964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8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6" y="27489"/>
                    <a:pt x="270205" y="25483"/>
                    <a:pt x="273214" y="26486"/>
                  </a:cubicBezTo>
                  <a:cubicBezTo>
                    <a:pt x="269202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2" y="28492"/>
                    <a:pt x="272211" y="28492"/>
                    <a:pt x="273214" y="28492"/>
                  </a:cubicBezTo>
                  <a:cubicBezTo>
                    <a:pt x="274217" y="27489"/>
                    <a:pt x="282240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3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3" y="6432"/>
                    <a:pt x="285249" y="7434"/>
                    <a:pt x="284246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5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3" y="24481"/>
                    <a:pt x="171917" y="23478"/>
                    <a:pt x="167906" y="26486"/>
                  </a:cubicBezTo>
                  <a:cubicBezTo>
                    <a:pt x="167906" y="26486"/>
                    <a:pt x="169912" y="25483"/>
                    <a:pt x="173923" y="23478"/>
                  </a:cubicBezTo>
                  <a:cubicBezTo>
                    <a:pt x="177935" y="21473"/>
                    <a:pt x="181947" y="18464"/>
                    <a:pt x="186961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4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8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4" y="87653"/>
                    <a:pt x="80650" y="85647"/>
                    <a:pt x="78644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4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9471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sp>
        <p:nvSpPr>
          <p:cNvPr id="30" name="Pladsholder til tekst 2">
            <a:extLst>
              <a:ext uri="{FF2B5EF4-FFF2-40B4-BE49-F238E27FC236}">
                <a16:creationId xmlns:a16="http://schemas.microsoft.com/office/drawing/2014/main" id="{C9B57B85-8770-0841-BB19-40B7516950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79800" y="30920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1" name="Pladsholder til tekst 2">
            <a:extLst>
              <a:ext uri="{FF2B5EF4-FFF2-40B4-BE49-F238E27FC236}">
                <a16:creationId xmlns:a16="http://schemas.microsoft.com/office/drawing/2014/main" id="{E73C8752-A2E0-DC45-8EBA-D15AECFCAA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9800" y="39344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2" name="Pladsholder til tekst 2">
            <a:extLst>
              <a:ext uri="{FF2B5EF4-FFF2-40B4-BE49-F238E27FC236}">
                <a16:creationId xmlns:a16="http://schemas.microsoft.com/office/drawing/2014/main" id="{11E4C019-7294-044A-AF7C-F1E2E2E219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9800" y="47768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2893B3F6-3C9F-6B4F-BD6D-9C63D898DF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9800" y="56192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2271530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5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1) Indhold - billedekollag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1" y="1831358"/>
            <a:ext cx="2796988" cy="400850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772861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631321" y="1831359"/>
            <a:ext cx="4646279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631321" y="3990572"/>
            <a:ext cx="4646279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779737" y="3992675"/>
            <a:ext cx="2796988" cy="18492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04F7A2D-1D60-924D-8691-343C17E54B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65172" y="4257910"/>
            <a:ext cx="2195929" cy="1380891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9048D62-3969-AF4F-9DFE-7CB99DD91E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EF939005-16F7-D242-90DC-BF9D655DFE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428465609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baseret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E1980FE7-9B07-E646-894E-3528B0359370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Tekstbaseret </a:t>
            </a:r>
            <a:br>
              <a:rPr lang="da-DK" sz="11501" b="1">
                <a:solidFill>
                  <a:srgbClr val="FFFFFF"/>
                </a:solidFill>
              </a:rPr>
            </a:br>
            <a:r>
              <a:rPr lang="da-DK" sz="11501" b="1">
                <a:solidFill>
                  <a:srgbClr val="FFFFFF"/>
                </a:solidFill>
              </a:rPr>
              <a:t>indhold</a:t>
            </a:r>
          </a:p>
        </p:txBody>
      </p:sp>
    </p:spTree>
    <p:extLst>
      <p:ext uri="{BB962C8B-B14F-4D97-AF65-F5344CB8AC3E}">
        <p14:creationId xmlns:p14="http://schemas.microsoft.com/office/powerpoint/2010/main" val="215245775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indent="0" algn="l">
              <a:buNone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i overskrif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1036320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B340005-E0B7-A043-B055-7006507B18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173411991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) Indhold - To tekst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227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noProof="0"/>
              <a:t>Klik for at redigere i overskrift</a:t>
            </a:r>
          </a:p>
          <a:p>
            <a:pPr lvl="0"/>
            <a:endParaRPr lang="da-DK" noProof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0D2860C-54D8-6E47-8910-BC092C081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  <p:sp>
        <p:nvSpPr>
          <p:cNvPr id="1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4041422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4" name="Pladsholder til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5288844" y="1731082"/>
            <a:ext cx="4041422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320045957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indent="0" algn="l">
              <a:buNone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i overskrift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D2860C-54D8-6E47-8910-BC092C081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355931410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) Indhold -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gram 4">
            <a:extLst>
              <a:ext uri="{FF2B5EF4-FFF2-40B4-BE49-F238E27FC236}">
                <a16:creationId xmlns:a16="http://schemas.microsoft.com/office/drawing/2014/main" id="{649C4CD9-CD6F-334F-98E9-4820250EF86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t diagram</a:t>
            </a:r>
          </a:p>
        </p:txBody>
      </p:sp>
    </p:spTree>
    <p:extLst>
      <p:ext uri="{BB962C8B-B14F-4D97-AF65-F5344CB8AC3E}">
        <p14:creationId xmlns:p14="http://schemas.microsoft.com/office/powerpoint/2010/main" val="342905509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5) Indhold -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abel 5">
            <a:extLst>
              <a:ext uri="{FF2B5EF4-FFF2-40B4-BE49-F238E27FC236}">
                <a16:creationId xmlns:a16="http://schemas.microsoft.com/office/drawing/2014/main" id="{FAC4DF31-B3FA-AA43-969D-3B3268B15152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38385339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6) Indhold - 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595521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afs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926263D-15B6-7E46-9D7B-3581BB98A802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Nyt afsnit</a:t>
            </a:r>
          </a:p>
        </p:txBody>
      </p:sp>
    </p:spTree>
    <p:extLst>
      <p:ext uri="{BB962C8B-B14F-4D97-AF65-F5344CB8AC3E}">
        <p14:creationId xmlns:p14="http://schemas.microsoft.com/office/powerpoint/2010/main" val="174876654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0) Nyt afsnit - Mellemslide (indsæt 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DB6CCC3-4B79-A846-8F97-C3D0B9F9CE3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80" y="0"/>
            <a:ext cx="12193879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18 w 12192018"/>
              <a:gd name="connsiteY0" fmla="*/ 0 h 6858000"/>
              <a:gd name="connsiteX1" fmla="*/ 12192018 w 12192018"/>
              <a:gd name="connsiteY1" fmla="*/ 0 h 6858000"/>
              <a:gd name="connsiteX2" fmla="*/ 12192018 w 12192018"/>
              <a:gd name="connsiteY2" fmla="*/ 6858000 h 6858000"/>
              <a:gd name="connsiteX3" fmla="*/ 18 w 12192018"/>
              <a:gd name="connsiteY3" fmla="*/ 6858000 h 6858000"/>
              <a:gd name="connsiteX4" fmla="*/ 2377458 w 12192018"/>
              <a:gd name="connsiteY4" fmla="*/ 2971800 h 6858000"/>
              <a:gd name="connsiteX5" fmla="*/ 18 w 12192018"/>
              <a:gd name="connsiteY5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3115657 w 12930217"/>
              <a:gd name="connsiteY5" fmla="*/ 2971800 h 6858000"/>
              <a:gd name="connsiteX6" fmla="*/ 738217 w 12930217"/>
              <a:gd name="connsiteY6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3115657 w 12930217"/>
              <a:gd name="connsiteY6" fmla="*/ 2971800 h 6858000"/>
              <a:gd name="connsiteX7" fmla="*/ 738217 w 12930217"/>
              <a:gd name="connsiteY7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849833 w 13041833"/>
              <a:gd name="connsiteY0" fmla="*/ 0 h 6858000"/>
              <a:gd name="connsiteX1" fmla="*/ 13041833 w 13041833"/>
              <a:gd name="connsiteY1" fmla="*/ 0 h 6858000"/>
              <a:gd name="connsiteX2" fmla="*/ 13041833 w 13041833"/>
              <a:gd name="connsiteY2" fmla="*/ 6858000 h 6858000"/>
              <a:gd name="connsiteX3" fmla="*/ 849833 w 13041833"/>
              <a:gd name="connsiteY3" fmla="*/ 6858000 h 6858000"/>
              <a:gd name="connsiteX4" fmla="*/ 1307033 w 13041833"/>
              <a:gd name="connsiteY4" fmla="*/ 5829300 h 6858000"/>
              <a:gd name="connsiteX5" fmla="*/ 7067754 w 13041833"/>
              <a:gd name="connsiteY5" fmla="*/ 5772150 h 6858000"/>
              <a:gd name="connsiteX6" fmla="*/ 8096454 w 13041833"/>
              <a:gd name="connsiteY6" fmla="*/ 3086100 h 6858000"/>
              <a:gd name="connsiteX7" fmla="*/ 861263 w 13041833"/>
              <a:gd name="connsiteY7" fmla="*/ 3086100 h 6858000"/>
              <a:gd name="connsiteX8" fmla="*/ 849833 w 13041833"/>
              <a:gd name="connsiteY8" fmla="*/ 0 h 6858000"/>
              <a:gd name="connsiteX0" fmla="*/ 796095 w 12988095"/>
              <a:gd name="connsiteY0" fmla="*/ 0 h 6858000"/>
              <a:gd name="connsiteX1" fmla="*/ 12988095 w 12988095"/>
              <a:gd name="connsiteY1" fmla="*/ 0 h 6858000"/>
              <a:gd name="connsiteX2" fmla="*/ 12988095 w 12988095"/>
              <a:gd name="connsiteY2" fmla="*/ 6858000 h 6858000"/>
              <a:gd name="connsiteX3" fmla="*/ 796095 w 12988095"/>
              <a:gd name="connsiteY3" fmla="*/ 6858000 h 6858000"/>
              <a:gd name="connsiteX4" fmla="*/ 1253295 w 12988095"/>
              <a:gd name="connsiteY4" fmla="*/ 5829300 h 6858000"/>
              <a:gd name="connsiteX5" fmla="*/ 7014016 w 12988095"/>
              <a:gd name="connsiteY5" fmla="*/ 5772150 h 6858000"/>
              <a:gd name="connsiteX6" fmla="*/ 8042716 w 12988095"/>
              <a:gd name="connsiteY6" fmla="*/ 3086100 h 6858000"/>
              <a:gd name="connsiteX7" fmla="*/ 807525 w 12988095"/>
              <a:gd name="connsiteY7" fmla="*/ 3086100 h 6858000"/>
              <a:gd name="connsiteX8" fmla="*/ 796095 w 12988095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457200 w 12192000"/>
              <a:gd name="connsiteY4" fmla="*/ 582930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45732 w 12237732"/>
              <a:gd name="connsiteY0" fmla="*/ 0 h 6858000"/>
              <a:gd name="connsiteX1" fmla="*/ 12237732 w 12237732"/>
              <a:gd name="connsiteY1" fmla="*/ 0 h 6858000"/>
              <a:gd name="connsiteX2" fmla="*/ 12237732 w 12237732"/>
              <a:gd name="connsiteY2" fmla="*/ 6858000 h 6858000"/>
              <a:gd name="connsiteX3" fmla="*/ 45732 w 12237732"/>
              <a:gd name="connsiteY3" fmla="*/ 6858000 h 6858000"/>
              <a:gd name="connsiteX4" fmla="*/ 57162 w 12237732"/>
              <a:gd name="connsiteY4" fmla="*/ 5806440 h 6858000"/>
              <a:gd name="connsiteX5" fmla="*/ 6263653 w 12237732"/>
              <a:gd name="connsiteY5" fmla="*/ 5772150 h 6858000"/>
              <a:gd name="connsiteX6" fmla="*/ 7292353 w 12237732"/>
              <a:gd name="connsiteY6" fmla="*/ 3086100 h 6858000"/>
              <a:gd name="connsiteX7" fmla="*/ 57162 w 12237732"/>
              <a:gd name="connsiteY7" fmla="*/ 3086100 h 6858000"/>
              <a:gd name="connsiteX8" fmla="*/ 45732 w 12237732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12700 w 12193270"/>
              <a:gd name="connsiteY4" fmla="*/ 580644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6350 w 12193270"/>
              <a:gd name="connsiteY4" fmla="*/ 582549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1914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3879" h="6858000">
                <a:moveTo>
                  <a:pt x="1879" y="0"/>
                </a:moveTo>
                <a:lnTo>
                  <a:pt x="12193879" y="0"/>
                </a:lnTo>
                <a:lnTo>
                  <a:pt x="12193879" y="6858000"/>
                </a:lnTo>
                <a:lnTo>
                  <a:pt x="1879" y="6858000"/>
                </a:lnTo>
                <a:cubicBezTo>
                  <a:pt x="2514" y="6059805"/>
                  <a:pt x="-3836" y="6492875"/>
                  <a:pt x="3784" y="5822315"/>
                </a:cubicBezTo>
                <a:lnTo>
                  <a:pt x="7247865" y="5819140"/>
                </a:lnTo>
                <a:cubicBezTo>
                  <a:pt x="7250405" y="4772660"/>
                  <a:pt x="7247230" y="4008755"/>
                  <a:pt x="7251675" y="3089275"/>
                </a:cubicBezTo>
                <a:lnTo>
                  <a:pt x="609" y="3092450"/>
                </a:lnTo>
                <a:cubicBezTo>
                  <a:pt x="1032" y="2061633"/>
                  <a:pt x="1456" y="1030817"/>
                  <a:pt x="1879" y="0"/>
                </a:cubicBezTo>
                <a:close/>
              </a:path>
            </a:pathLst>
          </a:custGeom>
          <a:noFill/>
          <a:effectLst/>
        </p:spPr>
        <p:txBody>
          <a:bodyPr tIns="1692000"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800" b="0" baseline="0">
                <a:latin typeface="+mj-lt"/>
              </a:defRPr>
            </a:lvl1pPr>
          </a:lstStyle>
          <a:p>
            <a:r>
              <a:rPr lang="en-US" err="1"/>
              <a:t>Indsæt</a:t>
            </a:r>
            <a:r>
              <a:rPr lang="en-US"/>
              <a:t> </a:t>
            </a:r>
            <a:r>
              <a:rPr lang="en-US" err="1"/>
              <a:t>billiede</a:t>
            </a:r>
            <a:r>
              <a:rPr lang="en-US"/>
              <a:t>, </a:t>
            </a:r>
            <a:r>
              <a:rPr lang="en-US" err="1"/>
              <a:t>klik</a:t>
            </a:r>
            <a:r>
              <a:rPr lang="en-US"/>
              <a:t> her</a:t>
            </a:r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8A69F2F3-767B-1543-9BB3-36075B3B8957}"/>
              </a:ext>
            </a:extLst>
          </p:cNvPr>
          <p:cNvGrpSpPr/>
          <p:nvPr userDrawn="1"/>
        </p:nvGrpSpPr>
        <p:grpSpPr>
          <a:xfrm rot="17162911" flipH="1">
            <a:off x="6421968" y="2335518"/>
            <a:ext cx="837630" cy="491500"/>
            <a:chOff x="3807407" y="1614978"/>
            <a:chExt cx="750355" cy="334433"/>
          </a:xfrm>
        </p:grpSpPr>
        <p:sp>
          <p:nvSpPr>
            <p:cNvPr id="10" name="Kombinationstegning 9">
              <a:extLst>
                <a:ext uri="{FF2B5EF4-FFF2-40B4-BE49-F238E27FC236}">
                  <a16:creationId xmlns:a16="http://schemas.microsoft.com/office/drawing/2014/main" id="{261AFC55-9A17-4A4E-B03C-2D2432500C23}"/>
                </a:ext>
              </a:extLst>
            </p:cNvPr>
            <p:cNvSpPr/>
            <p:nvPr/>
          </p:nvSpPr>
          <p:spPr>
            <a:xfrm>
              <a:off x="3807407" y="1651138"/>
              <a:ext cx="674427" cy="298273"/>
            </a:xfrm>
            <a:custGeom>
              <a:avLst/>
              <a:gdLst>
                <a:gd name="connsiteX0" fmla="*/ 161131 w 674427"/>
                <a:gd name="connsiteY0" fmla="*/ 238844 h 298273"/>
                <a:gd name="connsiteX1" fmla="*/ 163986 w 674427"/>
                <a:gd name="connsiteY1" fmla="*/ 237892 h 298273"/>
                <a:gd name="connsiteX2" fmla="*/ 136381 w 674427"/>
                <a:gd name="connsiteY2" fmla="*/ 250263 h 298273"/>
                <a:gd name="connsiteX3" fmla="*/ 194447 w 674427"/>
                <a:gd name="connsiteY3" fmla="*/ 220764 h 298273"/>
                <a:gd name="connsiteX4" fmla="*/ 218245 w 674427"/>
                <a:gd name="connsiteY4" fmla="*/ 216006 h 298273"/>
                <a:gd name="connsiteX5" fmla="*/ 229667 w 674427"/>
                <a:gd name="connsiteY5" fmla="*/ 208394 h 298273"/>
                <a:gd name="connsiteX6" fmla="*/ 222052 w 674427"/>
                <a:gd name="connsiteY6" fmla="*/ 213152 h 298273"/>
                <a:gd name="connsiteX7" fmla="*/ 229667 w 674427"/>
                <a:gd name="connsiteY7" fmla="*/ 208394 h 298273"/>
                <a:gd name="connsiteX8" fmla="*/ 313435 w 674427"/>
                <a:gd name="connsiteY8" fmla="*/ 169379 h 298273"/>
                <a:gd name="connsiteX9" fmla="*/ 392442 w 674427"/>
                <a:gd name="connsiteY9" fmla="*/ 137978 h 298273"/>
                <a:gd name="connsiteX10" fmla="*/ 400057 w 674427"/>
                <a:gd name="connsiteY10" fmla="*/ 135123 h 298273"/>
                <a:gd name="connsiteX11" fmla="*/ 391490 w 674427"/>
                <a:gd name="connsiteY11" fmla="*/ 137978 h 298273"/>
                <a:gd name="connsiteX12" fmla="*/ 418144 w 674427"/>
                <a:gd name="connsiteY12" fmla="*/ 121801 h 298273"/>
                <a:gd name="connsiteX13" fmla="*/ 411480 w 674427"/>
                <a:gd name="connsiteY13" fmla="*/ 121801 h 298273"/>
                <a:gd name="connsiteX14" fmla="*/ 416240 w 674427"/>
                <a:gd name="connsiteY14" fmla="*/ 119898 h 298273"/>
                <a:gd name="connsiteX15" fmla="*/ 433374 w 674427"/>
                <a:gd name="connsiteY15" fmla="*/ 109430 h 298273"/>
                <a:gd name="connsiteX16" fmla="*/ 440037 w 674427"/>
                <a:gd name="connsiteY16" fmla="*/ 108479 h 298273"/>
                <a:gd name="connsiteX17" fmla="*/ 438133 w 674427"/>
                <a:gd name="connsiteY17" fmla="*/ 108479 h 298273"/>
                <a:gd name="connsiteX18" fmla="*/ 474306 w 674427"/>
                <a:gd name="connsiteY18" fmla="*/ 92302 h 298273"/>
                <a:gd name="connsiteX19" fmla="*/ 478113 w 674427"/>
                <a:gd name="connsiteY19" fmla="*/ 91351 h 298273"/>
                <a:gd name="connsiteX20" fmla="*/ 488584 w 674427"/>
                <a:gd name="connsiteY20" fmla="*/ 86593 h 298273"/>
                <a:gd name="connsiteX21" fmla="*/ 493344 w 674427"/>
                <a:gd name="connsiteY21" fmla="*/ 87544 h 298273"/>
                <a:gd name="connsiteX22" fmla="*/ 515237 w 674427"/>
                <a:gd name="connsiteY22" fmla="*/ 76126 h 298273"/>
                <a:gd name="connsiteX23" fmla="*/ 555217 w 674427"/>
                <a:gd name="connsiteY23" fmla="*/ 58997 h 298273"/>
                <a:gd name="connsiteX24" fmla="*/ 596149 w 674427"/>
                <a:gd name="connsiteY24" fmla="*/ 40917 h 298273"/>
                <a:gd name="connsiteX25" fmla="*/ 595197 w 674427"/>
                <a:gd name="connsiteY25" fmla="*/ 40917 h 298273"/>
                <a:gd name="connsiteX26" fmla="*/ 624706 w 674427"/>
                <a:gd name="connsiteY26" fmla="*/ 27596 h 298273"/>
                <a:gd name="connsiteX27" fmla="*/ 646599 w 674427"/>
                <a:gd name="connsiteY27" fmla="*/ 14274 h 298273"/>
                <a:gd name="connsiteX28" fmla="*/ 669445 w 674427"/>
                <a:gd name="connsiteY28" fmla="*/ 4758 h 298273"/>
                <a:gd name="connsiteX29" fmla="*/ 673253 w 674427"/>
                <a:gd name="connsiteY29" fmla="*/ 0 h 298273"/>
                <a:gd name="connsiteX30" fmla="*/ 659926 w 674427"/>
                <a:gd name="connsiteY30" fmla="*/ 1903 h 298273"/>
                <a:gd name="connsiteX31" fmla="*/ 659926 w 674427"/>
                <a:gd name="connsiteY31" fmla="*/ 1903 h 298273"/>
                <a:gd name="connsiteX32" fmla="*/ 581870 w 674427"/>
                <a:gd name="connsiteY32" fmla="*/ 23789 h 298273"/>
                <a:gd name="connsiteX33" fmla="*/ 528564 w 674427"/>
                <a:gd name="connsiteY33" fmla="*/ 44724 h 298273"/>
                <a:gd name="connsiteX34" fmla="*/ 474306 w 674427"/>
                <a:gd name="connsiteY34" fmla="*/ 69465 h 298273"/>
                <a:gd name="connsiteX35" fmla="*/ 463835 w 674427"/>
                <a:gd name="connsiteY35" fmla="*/ 72319 h 298273"/>
                <a:gd name="connsiteX36" fmla="*/ 414336 w 674427"/>
                <a:gd name="connsiteY36" fmla="*/ 94205 h 298273"/>
                <a:gd name="connsiteX37" fmla="*/ 415288 w 674427"/>
                <a:gd name="connsiteY37" fmla="*/ 94205 h 298273"/>
                <a:gd name="connsiteX38" fmla="*/ 390538 w 674427"/>
                <a:gd name="connsiteY38" fmla="*/ 103721 h 298273"/>
                <a:gd name="connsiteX39" fmla="*/ 388635 w 674427"/>
                <a:gd name="connsiteY39" fmla="*/ 105624 h 298273"/>
                <a:gd name="connsiteX40" fmla="*/ 336280 w 674427"/>
                <a:gd name="connsiteY40" fmla="*/ 132268 h 298273"/>
                <a:gd name="connsiteX41" fmla="*/ 333424 w 674427"/>
                <a:gd name="connsiteY41" fmla="*/ 134171 h 298273"/>
                <a:gd name="connsiteX42" fmla="*/ 280118 w 674427"/>
                <a:gd name="connsiteY42" fmla="*/ 154154 h 298273"/>
                <a:gd name="connsiteX43" fmla="*/ 271551 w 674427"/>
                <a:gd name="connsiteY43" fmla="*/ 161767 h 298273"/>
                <a:gd name="connsiteX44" fmla="*/ 264888 w 674427"/>
                <a:gd name="connsiteY44" fmla="*/ 165573 h 298273"/>
                <a:gd name="connsiteX45" fmla="*/ 255369 w 674427"/>
                <a:gd name="connsiteY45" fmla="*/ 169379 h 298273"/>
                <a:gd name="connsiteX46" fmla="*/ 235379 w 674427"/>
                <a:gd name="connsiteY46" fmla="*/ 178895 h 298273"/>
                <a:gd name="connsiteX47" fmla="*/ 227764 w 674427"/>
                <a:gd name="connsiteY47" fmla="*/ 183653 h 298273"/>
                <a:gd name="connsiteX48" fmla="*/ 222052 w 674427"/>
                <a:gd name="connsiteY48" fmla="*/ 184604 h 298273"/>
                <a:gd name="connsiteX49" fmla="*/ 210629 w 674427"/>
                <a:gd name="connsiteY49" fmla="*/ 189362 h 298273"/>
                <a:gd name="connsiteX50" fmla="*/ 193495 w 674427"/>
                <a:gd name="connsiteY50" fmla="*/ 199829 h 298273"/>
                <a:gd name="connsiteX51" fmla="*/ 194447 w 674427"/>
                <a:gd name="connsiteY51" fmla="*/ 198878 h 298273"/>
                <a:gd name="connsiteX52" fmla="*/ 173505 w 674427"/>
                <a:gd name="connsiteY52" fmla="*/ 205539 h 298273"/>
                <a:gd name="connsiteX53" fmla="*/ 112584 w 674427"/>
                <a:gd name="connsiteY53" fmla="*/ 235038 h 298273"/>
                <a:gd name="connsiteX54" fmla="*/ 117343 w 674427"/>
                <a:gd name="connsiteY54" fmla="*/ 234086 h 298273"/>
                <a:gd name="connsiteX55" fmla="*/ 83075 w 674427"/>
                <a:gd name="connsiteY55" fmla="*/ 248360 h 298273"/>
                <a:gd name="connsiteX56" fmla="*/ 77363 w 674427"/>
                <a:gd name="connsiteY56" fmla="*/ 249311 h 298273"/>
                <a:gd name="connsiteX57" fmla="*/ 72604 w 674427"/>
                <a:gd name="connsiteY57" fmla="*/ 252166 h 298273"/>
                <a:gd name="connsiteX58" fmla="*/ 71652 w 674427"/>
                <a:gd name="connsiteY58" fmla="*/ 251214 h 298273"/>
                <a:gd name="connsiteX59" fmla="*/ 62133 w 674427"/>
                <a:gd name="connsiteY59" fmla="*/ 255021 h 298273"/>
                <a:gd name="connsiteX60" fmla="*/ 59277 w 674427"/>
                <a:gd name="connsiteY60" fmla="*/ 256924 h 298273"/>
                <a:gd name="connsiteX61" fmla="*/ 55470 w 674427"/>
                <a:gd name="connsiteY61" fmla="*/ 257875 h 298273"/>
                <a:gd name="connsiteX62" fmla="*/ 55470 w 674427"/>
                <a:gd name="connsiteY62" fmla="*/ 257875 h 298273"/>
                <a:gd name="connsiteX63" fmla="*/ 53566 w 674427"/>
                <a:gd name="connsiteY63" fmla="*/ 258827 h 298273"/>
                <a:gd name="connsiteX64" fmla="*/ 39287 w 674427"/>
                <a:gd name="connsiteY64" fmla="*/ 271197 h 298273"/>
                <a:gd name="connsiteX65" fmla="*/ 38335 w 674427"/>
                <a:gd name="connsiteY65" fmla="*/ 271197 h 298273"/>
                <a:gd name="connsiteX66" fmla="*/ 37384 w 674427"/>
                <a:gd name="connsiteY66" fmla="*/ 273100 h 298273"/>
                <a:gd name="connsiteX67" fmla="*/ 34528 w 674427"/>
                <a:gd name="connsiteY67" fmla="*/ 274052 h 298273"/>
                <a:gd name="connsiteX68" fmla="*/ 34528 w 674427"/>
                <a:gd name="connsiteY68" fmla="*/ 274052 h 298273"/>
                <a:gd name="connsiteX69" fmla="*/ 31672 w 674427"/>
                <a:gd name="connsiteY69" fmla="*/ 275004 h 298273"/>
                <a:gd name="connsiteX70" fmla="*/ 30720 w 674427"/>
                <a:gd name="connsiteY70" fmla="*/ 274052 h 298273"/>
                <a:gd name="connsiteX71" fmla="*/ 26913 w 674427"/>
                <a:gd name="connsiteY71" fmla="*/ 276907 h 298273"/>
                <a:gd name="connsiteX72" fmla="*/ 41191 w 674427"/>
                <a:gd name="connsiteY72" fmla="*/ 274052 h 298273"/>
                <a:gd name="connsiteX73" fmla="*/ 34528 w 674427"/>
                <a:gd name="connsiteY73" fmla="*/ 276907 h 298273"/>
                <a:gd name="connsiteX74" fmla="*/ 23105 w 674427"/>
                <a:gd name="connsiteY74" fmla="*/ 279761 h 298273"/>
                <a:gd name="connsiteX75" fmla="*/ 20249 w 674427"/>
                <a:gd name="connsiteY75" fmla="*/ 281664 h 298273"/>
                <a:gd name="connsiteX76" fmla="*/ 16442 w 674427"/>
                <a:gd name="connsiteY76" fmla="*/ 282616 h 298273"/>
                <a:gd name="connsiteX77" fmla="*/ 21201 w 674427"/>
                <a:gd name="connsiteY77" fmla="*/ 279761 h 298273"/>
                <a:gd name="connsiteX78" fmla="*/ 15490 w 674427"/>
                <a:gd name="connsiteY78" fmla="*/ 281664 h 298273"/>
                <a:gd name="connsiteX79" fmla="*/ 9778 w 674427"/>
                <a:gd name="connsiteY79" fmla="*/ 284519 h 298273"/>
                <a:gd name="connsiteX80" fmla="*/ 5971 w 674427"/>
                <a:gd name="connsiteY80" fmla="*/ 284519 h 298273"/>
                <a:gd name="connsiteX81" fmla="*/ 5019 w 674427"/>
                <a:gd name="connsiteY81" fmla="*/ 286422 h 298273"/>
                <a:gd name="connsiteX82" fmla="*/ 9778 w 674427"/>
                <a:gd name="connsiteY82" fmla="*/ 286422 h 298273"/>
                <a:gd name="connsiteX83" fmla="*/ 5019 w 674427"/>
                <a:gd name="connsiteY83" fmla="*/ 288325 h 298273"/>
                <a:gd name="connsiteX84" fmla="*/ 5971 w 674427"/>
                <a:gd name="connsiteY84" fmla="*/ 289277 h 298273"/>
                <a:gd name="connsiteX85" fmla="*/ 1211 w 674427"/>
                <a:gd name="connsiteY85" fmla="*/ 291180 h 298273"/>
                <a:gd name="connsiteX86" fmla="*/ 2163 w 674427"/>
                <a:gd name="connsiteY86" fmla="*/ 290229 h 298273"/>
                <a:gd name="connsiteX87" fmla="*/ 8827 w 674427"/>
                <a:gd name="connsiteY87" fmla="*/ 281664 h 298273"/>
                <a:gd name="connsiteX88" fmla="*/ 259 w 674427"/>
                <a:gd name="connsiteY88" fmla="*/ 291180 h 298273"/>
                <a:gd name="connsiteX89" fmla="*/ 1211 w 674427"/>
                <a:gd name="connsiteY89" fmla="*/ 292132 h 298273"/>
                <a:gd name="connsiteX90" fmla="*/ 2163 w 674427"/>
                <a:gd name="connsiteY90" fmla="*/ 290229 h 298273"/>
                <a:gd name="connsiteX91" fmla="*/ 5019 w 674427"/>
                <a:gd name="connsiteY91" fmla="*/ 291180 h 298273"/>
                <a:gd name="connsiteX92" fmla="*/ 8827 w 674427"/>
                <a:gd name="connsiteY92" fmla="*/ 284519 h 298273"/>
                <a:gd name="connsiteX93" fmla="*/ 9778 w 674427"/>
                <a:gd name="connsiteY93" fmla="*/ 284519 h 298273"/>
                <a:gd name="connsiteX94" fmla="*/ 5019 w 674427"/>
                <a:gd name="connsiteY94" fmla="*/ 287374 h 298273"/>
                <a:gd name="connsiteX95" fmla="*/ 3115 w 674427"/>
                <a:gd name="connsiteY95" fmla="*/ 290229 h 298273"/>
                <a:gd name="connsiteX96" fmla="*/ 2163 w 674427"/>
                <a:gd name="connsiteY96" fmla="*/ 290229 h 298273"/>
                <a:gd name="connsiteX97" fmla="*/ 259 w 674427"/>
                <a:gd name="connsiteY97" fmla="*/ 292132 h 298273"/>
                <a:gd name="connsiteX98" fmla="*/ 5971 w 674427"/>
                <a:gd name="connsiteY98" fmla="*/ 297841 h 298273"/>
                <a:gd name="connsiteX99" fmla="*/ 9778 w 674427"/>
                <a:gd name="connsiteY99" fmla="*/ 294035 h 298273"/>
                <a:gd name="connsiteX100" fmla="*/ 14538 w 674427"/>
                <a:gd name="connsiteY100" fmla="*/ 294035 h 298273"/>
                <a:gd name="connsiteX101" fmla="*/ 15490 w 674427"/>
                <a:gd name="connsiteY101" fmla="*/ 292132 h 298273"/>
                <a:gd name="connsiteX102" fmla="*/ 19297 w 674427"/>
                <a:gd name="connsiteY102" fmla="*/ 292132 h 298273"/>
                <a:gd name="connsiteX103" fmla="*/ 24057 w 674427"/>
                <a:gd name="connsiteY103" fmla="*/ 290229 h 298273"/>
                <a:gd name="connsiteX104" fmla="*/ 25009 w 674427"/>
                <a:gd name="connsiteY104" fmla="*/ 289277 h 298273"/>
                <a:gd name="connsiteX105" fmla="*/ 32624 w 674427"/>
                <a:gd name="connsiteY105" fmla="*/ 285471 h 298273"/>
                <a:gd name="connsiteX106" fmla="*/ 35480 w 674427"/>
                <a:gd name="connsiteY106" fmla="*/ 288325 h 298273"/>
                <a:gd name="connsiteX107" fmla="*/ 32624 w 674427"/>
                <a:gd name="connsiteY107" fmla="*/ 288325 h 298273"/>
                <a:gd name="connsiteX108" fmla="*/ 29768 w 674427"/>
                <a:gd name="connsiteY108" fmla="*/ 292132 h 298273"/>
                <a:gd name="connsiteX109" fmla="*/ 35480 w 674427"/>
                <a:gd name="connsiteY109" fmla="*/ 290229 h 298273"/>
                <a:gd name="connsiteX110" fmla="*/ 34528 w 674427"/>
                <a:gd name="connsiteY110" fmla="*/ 290229 h 298273"/>
                <a:gd name="connsiteX111" fmla="*/ 42143 w 674427"/>
                <a:gd name="connsiteY111" fmla="*/ 286422 h 298273"/>
                <a:gd name="connsiteX112" fmla="*/ 42143 w 674427"/>
                <a:gd name="connsiteY112" fmla="*/ 288325 h 298273"/>
                <a:gd name="connsiteX113" fmla="*/ 44999 w 674427"/>
                <a:gd name="connsiteY113" fmla="*/ 287374 h 298273"/>
                <a:gd name="connsiteX114" fmla="*/ 44999 w 674427"/>
                <a:gd name="connsiteY114" fmla="*/ 287374 h 298273"/>
                <a:gd name="connsiteX115" fmla="*/ 48806 w 674427"/>
                <a:gd name="connsiteY115" fmla="*/ 285471 h 298273"/>
                <a:gd name="connsiteX116" fmla="*/ 61181 w 674427"/>
                <a:gd name="connsiteY116" fmla="*/ 276907 h 298273"/>
                <a:gd name="connsiteX117" fmla="*/ 64989 w 674427"/>
                <a:gd name="connsiteY117" fmla="*/ 275004 h 298273"/>
                <a:gd name="connsiteX118" fmla="*/ 50710 w 674427"/>
                <a:gd name="connsiteY118" fmla="*/ 284519 h 298273"/>
                <a:gd name="connsiteX119" fmla="*/ 71652 w 674427"/>
                <a:gd name="connsiteY119" fmla="*/ 272149 h 298273"/>
                <a:gd name="connsiteX120" fmla="*/ 73556 w 674427"/>
                <a:gd name="connsiteY120" fmla="*/ 270246 h 298273"/>
                <a:gd name="connsiteX121" fmla="*/ 75460 w 674427"/>
                <a:gd name="connsiteY121" fmla="*/ 271197 h 298273"/>
                <a:gd name="connsiteX122" fmla="*/ 75460 w 674427"/>
                <a:gd name="connsiteY122" fmla="*/ 271197 h 298273"/>
                <a:gd name="connsiteX123" fmla="*/ 77363 w 674427"/>
                <a:gd name="connsiteY123" fmla="*/ 271197 h 298273"/>
                <a:gd name="connsiteX124" fmla="*/ 89738 w 674427"/>
                <a:gd name="connsiteY124" fmla="*/ 264536 h 298273"/>
                <a:gd name="connsiteX125" fmla="*/ 85930 w 674427"/>
                <a:gd name="connsiteY125" fmla="*/ 269294 h 298273"/>
                <a:gd name="connsiteX126" fmla="*/ 84979 w 674427"/>
                <a:gd name="connsiteY126" fmla="*/ 269294 h 298273"/>
                <a:gd name="connsiteX127" fmla="*/ 83075 w 674427"/>
                <a:gd name="connsiteY127" fmla="*/ 271197 h 298273"/>
                <a:gd name="connsiteX128" fmla="*/ 89738 w 674427"/>
                <a:gd name="connsiteY128" fmla="*/ 267391 h 298273"/>
                <a:gd name="connsiteX129" fmla="*/ 91642 w 674427"/>
                <a:gd name="connsiteY129" fmla="*/ 267391 h 298273"/>
                <a:gd name="connsiteX130" fmla="*/ 91642 w 674427"/>
                <a:gd name="connsiteY130" fmla="*/ 267391 h 298273"/>
                <a:gd name="connsiteX131" fmla="*/ 92594 w 674427"/>
                <a:gd name="connsiteY131" fmla="*/ 268343 h 298273"/>
                <a:gd name="connsiteX132" fmla="*/ 92594 w 674427"/>
                <a:gd name="connsiteY132" fmla="*/ 268343 h 298273"/>
                <a:gd name="connsiteX133" fmla="*/ 105920 w 674427"/>
                <a:gd name="connsiteY133" fmla="*/ 261681 h 298273"/>
                <a:gd name="connsiteX134" fmla="*/ 106872 w 674427"/>
                <a:gd name="connsiteY134" fmla="*/ 259778 h 298273"/>
                <a:gd name="connsiteX135" fmla="*/ 119247 w 674427"/>
                <a:gd name="connsiteY135" fmla="*/ 255972 h 298273"/>
                <a:gd name="connsiteX136" fmla="*/ 118295 w 674427"/>
                <a:gd name="connsiteY136" fmla="*/ 254069 h 298273"/>
                <a:gd name="connsiteX137" fmla="*/ 122103 w 674427"/>
                <a:gd name="connsiteY137" fmla="*/ 253117 h 298273"/>
                <a:gd name="connsiteX138" fmla="*/ 126862 w 674427"/>
                <a:gd name="connsiteY138" fmla="*/ 255972 h 298273"/>
                <a:gd name="connsiteX139" fmla="*/ 131622 w 674427"/>
                <a:gd name="connsiteY139" fmla="*/ 254069 h 298273"/>
                <a:gd name="connsiteX140" fmla="*/ 133525 w 674427"/>
                <a:gd name="connsiteY140" fmla="*/ 251214 h 298273"/>
                <a:gd name="connsiteX141" fmla="*/ 139237 w 674427"/>
                <a:gd name="connsiteY141" fmla="*/ 249311 h 298273"/>
                <a:gd name="connsiteX142" fmla="*/ 140189 w 674427"/>
                <a:gd name="connsiteY142" fmla="*/ 251214 h 298273"/>
                <a:gd name="connsiteX143" fmla="*/ 148756 w 674427"/>
                <a:gd name="connsiteY143" fmla="*/ 248360 h 298273"/>
                <a:gd name="connsiteX144" fmla="*/ 155419 w 674427"/>
                <a:gd name="connsiteY144" fmla="*/ 243602 h 298273"/>
                <a:gd name="connsiteX145" fmla="*/ 161131 w 674427"/>
                <a:gd name="connsiteY145" fmla="*/ 238844 h 2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74427" h="298273">
                  <a:moveTo>
                    <a:pt x="161131" y="238844"/>
                  </a:moveTo>
                  <a:lnTo>
                    <a:pt x="163986" y="237892"/>
                  </a:lnTo>
                  <a:cubicBezTo>
                    <a:pt x="155419" y="242650"/>
                    <a:pt x="145900" y="246456"/>
                    <a:pt x="136381" y="250263"/>
                  </a:cubicBezTo>
                  <a:cubicBezTo>
                    <a:pt x="158275" y="244553"/>
                    <a:pt x="183024" y="236941"/>
                    <a:pt x="194447" y="220764"/>
                  </a:cubicBezTo>
                  <a:cubicBezTo>
                    <a:pt x="198255" y="224570"/>
                    <a:pt x="218245" y="216958"/>
                    <a:pt x="218245" y="216006"/>
                  </a:cubicBezTo>
                  <a:cubicBezTo>
                    <a:pt x="222052" y="213152"/>
                    <a:pt x="225860" y="210297"/>
                    <a:pt x="229667" y="208394"/>
                  </a:cubicBezTo>
                  <a:cubicBezTo>
                    <a:pt x="226812" y="210297"/>
                    <a:pt x="224908" y="212200"/>
                    <a:pt x="222052" y="213152"/>
                  </a:cubicBezTo>
                  <a:cubicBezTo>
                    <a:pt x="224908" y="211248"/>
                    <a:pt x="227764" y="209345"/>
                    <a:pt x="229667" y="208394"/>
                  </a:cubicBezTo>
                  <a:cubicBezTo>
                    <a:pt x="254417" y="192217"/>
                    <a:pt x="282974" y="180798"/>
                    <a:pt x="313435" y="169379"/>
                  </a:cubicBezTo>
                  <a:cubicBezTo>
                    <a:pt x="329617" y="162718"/>
                    <a:pt x="374356" y="143687"/>
                    <a:pt x="392442" y="137978"/>
                  </a:cubicBezTo>
                  <a:lnTo>
                    <a:pt x="400057" y="135123"/>
                  </a:lnTo>
                  <a:cubicBezTo>
                    <a:pt x="396250" y="136074"/>
                    <a:pt x="396250" y="136074"/>
                    <a:pt x="391490" y="137978"/>
                  </a:cubicBezTo>
                  <a:cubicBezTo>
                    <a:pt x="401009" y="132268"/>
                    <a:pt x="409576" y="126559"/>
                    <a:pt x="418144" y="121801"/>
                  </a:cubicBezTo>
                  <a:cubicBezTo>
                    <a:pt x="416240" y="121801"/>
                    <a:pt x="415288" y="120849"/>
                    <a:pt x="411480" y="121801"/>
                  </a:cubicBezTo>
                  <a:lnTo>
                    <a:pt x="416240" y="119898"/>
                  </a:lnTo>
                  <a:cubicBezTo>
                    <a:pt x="419095" y="116092"/>
                    <a:pt x="429566" y="112285"/>
                    <a:pt x="433374" y="109430"/>
                  </a:cubicBezTo>
                  <a:cubicBezTo>
                    <a:pt x="432422" y="111334"/>
                    <a:pt x="436230" y="109430"/>
                    <a:pt x="440037" y="108479"/>
                  </a:cubicBezTo>
                  <a:lnTo>
                    <a:pt x="438133" y="108479"/>
                  </a:lnTo>
                  <a:cubicBezTo>
                    <a:pt x="450508" y="103721"/>
                    <a:pt x="463835" y="97060"/>
                    <a:pt x="474306" y="92302"/>
                  </a:cubicBezTo>
                  <a:cubicBezTo>
                    <a:pt x="476209" y="91351"/>
                    <a:pt x="477161" y="91351"/>
                    <a:pt x="478113" y="91351"/>
                  </a:cubicBezTo>
                  <a:lnTo>
                    <a:pt x="488584" y="86593"/>
                  </a:lnTo>
                  <a:cubicBezTo>
                    <a:pt x="488584" y="88496"/>
                    <a:pt x="498103" y="84690"/>
                    <a:pt x="493344" y="87544"/>
                  </a:cubicBezTo>
                  <a:cubicBezTo>
                    <a:pt x="500007" y="82787"/>
                    <a:pt x="508574" y="80883"/>
                    <a:pt x="515237" y="76126"/>
                  </a:cubicBezTo>
                  <a:cubicBezTo>
                    <a:pt x="528564" y="70416"/>
                    <a:pt x="541891" y="64707"/>
                    <a:pt x="555217" y="58997"/>
                  </a:cubicBezTo>
                  <a:cubicBezTo>
                    <a:pt x="568544" y="53288"/>
                    <a:pt x="582822" y="47578"/>
                    <a:pt x="596149" y="40917"/>
                  </a:cubicBezTo>
                  <a:lnTo>
                    <a:pt x="595197" y="40917"/>
                  </a:lnTo>
                  <a:cubicBezTo>
                    <a:pt x="604716" y="36160"/>
                    <a:pt x="612331" y="31402"/>
                    <a:pt x="624706" y="27596"/>
                  </a:cubicBezTo>
                  <a:cubicBezTo>
                    <a:pt x="632321" y="22838"/>
                    <a:pt x="644696" y="18080"/>
                    <a:pt x="646599" y="14274"/>
                  </a:cubicBezTo>
                  <a:cubicBezTo>
                    <a:pt x="656118" y="10467"/>
                    <a:pt x="659926" y="8564"/>
                    <a:pt x="669445" y="4758"/>
                  </a:cubicBezTo>
                  <a:cubicBezTo>
                    <a:pt x="666589" y="3806"/>
                    <a:pt x="678012" y="0"/>
                    <a:pt x="673253" y="0"/>
                  </a:cubicBezTo>
                  <a:cubicBezTo>
                    <a:pt x="666589" y="0"/>
                    <a:pt x="666589" y="1903"/>
                    <a:pt x="659926" y="1903"/>
                  </a:cubicBezTo>
                  <a:lnTo>
                    <a:pt x="659926" y="1903"/>
                  </a:lnTo>
                  <a:cubicBezTo>
                    <a:pt x="633273" y="7613"/>
                    <a:pt x="607572" y="15225"/>
                    <a:pt x="581870" y="23789"/>
                  </a:cubicBezTo>
                  <a:cubicBezTo>
                    <a:pt x="565688" y="31402"/>
                    <a:pt x="546650" y="37111"/>
                    <a:pt x="528564" y="44724"/>
                  </a:cubicBezTo>
                  <a:cubicBezTo>
                    <a:pt x="509526" y="52336"/>
                    <a:pt x="489536" y="61852"/>
                    <a:pt x="474306" y="69465"/>
                  </a:cubicBezTo>
                  <a:cubicBezTo>
                    <a:pt x="470498" y="71368"/>
                    <a:pt x="467642" y="71368"/>
                    <a:pt x="463835" y="72319"/>
                  </a:cubicBezTo>
                  <a:cubicBezTo>
                    <a:pt x="449556" y="78980"/>
                    <a:pt x="430518" y="86593"/>
                    <a:pt x="414336" y="94205"/>
                  </a:cubicBezTo>
                  <a:lnTo>
                    <a:pt x="415288" y="94205"/>
                  </a:lnTo>
                  <a:cubicBezTo>
                    <a:pt x="406721" y="98012"/>
                    <a:pt x="399106" y="99915"/>
                    <a:pt x="390538" y="103721"/>
                  </a:cubicBezTo>
                  <a:cubicBezTo>
                    <a:pt x="390538" y="103721"/>
                    <a:pt x="389587" y="104673"/>
                    <a:pt x="388635" y="105624"/>
                  </a:cubicBezTo>
                  <a:cubicBezTo>
                    <a:pt x="386731" y="104673"/>
                    <a:pt x="340088" y="132268"/>
                    <a:pt x="336280" y="132268"/>
                  </a:cubicBezTo>
                  <a:lnTo>
                    <a:pt x="333424" y="134171"/>
                  </a:lnTo>
                  <a:cubicBezTo>
                    <a:pt x="315338" y="141784"/>
                    <a:pt x="295348" y="146542"/>
                    <a:pt x="280118" y="154154"/>
                  </a:cubicBezTo>
                  <a:cubicBezTo>
                    <a:pt x="277262" y="157009"/>
                    <a:pt x="273455" y="158912"/>
                    <a:pt x="271551" y="161767"/>
                  </a:cubicBezTo>
                  <a:cubicBezTo>
                    <a:pt x="268695" y="161767"/>
                    <a:pt x="268695" y="163670"/>
                    <a:pt x="264888" y="165573"/>
                  </a:cubicBezTo>
                  <a:cubicBezTo>
                    <a:pt x="254417" y="165573"/>
                    <a:pt x="250609" y="169379"/>
                    <a:pt x="255369" y="169379"/>
                  </a:cubicBezTo>
                  <a:cubicBezTo>
                    <a:pt x="248705" y="173186"/>
                    <a:pt x="242042" y="176040"/>
                    <a:pt x="235379" y="178895"/>
                  </a:cubicBezTo>
                  <a:cubicBezTo>
                    <a:pt x="232523" y="180798"/>
                    <a:pt x="229667" y="181750"/>
                    <a:pt x="227764" y="183653"/>
                  </a:cubicBezTo>
                  <a:cubicBezTo>
                    <a:pt x="225860" y="185556"/>
                    <a:pt x="223956" y="185556"/>
                    <a:pt x="222052" y="184604"/>
                  </a:cubicBezTo>
                  <a:cubicBezTo>
                    <a:pt x="216341" y="188411"/>
                    <a:pt x="217293" y="186508"/>
                    <a:pt x="210629" y="189362"/>
                  </a:cubicBezTo>
                  <a:cubicBezTo>
                    <a:pt x="208726" y="188411"/>
                    <a:pt x="195399" y="198878"/>
                    <a:pt x="193495" y="199829"/>
                  </a:cubicBezTo>
                  <a:lnTo>
                    <a:pt x="194447" y="198878"/>
                  </a:lnTo>
                  <a:cubicBezTo>
                    <a:pt x="186832" y="202684"/>
                    <a:pt x="181120" y="201733"/>
                    <a:pt x="173505" y="205539"/>
                  </a:cubicBezTo>
                  <a:cubicBezTo>
                    <a:pt x="152563" y="214103"/>
                    <a:pt x="131622" y="225522"/>
                    <a:pt x="112584" y="235038"/>
                  </a:cubicBezTo>
                  <a:cubicBezTo>
                    <a:pt x="112584" y="235989"/>
                    <a:pt x="116391" y="233134"/>
                    <a:pt x="117343" y="234086"/>
                  </a:cubicBezTo>
                  <a:cubicBezTo>
                    <a:pt x="105920" y="238844"/>
                    <a:pt x="94498" y="242650"/>
                    <a:pt x="83075" y="248360"/>
                  </a:cubicBezTo>
                  <a:cubicBezTo>
                    <a:pt x="81171" y="249311"/>
                    <a:pt x="78315" y="249311"/>
                    <a:pt x="77363" y="249311"/>
                  </a:cubicBezTo>
                  <a:cubicBezTo>
                    <a:pt x="73556" y="250263"/>
                    <a:pt x="75460" y="251214"/>
                    <a:pt x="72604" y="252166"/>
                  </a:cubicBezTo>
                  <a:lnTo>
                    <a:pt x="71652" y="251214"/>
                  </a:lnTo>
                  <a:cubicBezTo>
                    <a:pt x="68796" y="254069"/>
                    <a:pt x="64989" y="252166"/>
                    <a:pt x="62133" y="255021"/>
                  </a:cubicBezTo>
                  <a:cubicBezTo>
                    <a:pt x="62133" y="255972"/>
                    <a:pt x="61181" y="255972"/>
                    <a:pt x="59277" y="256924"/>
                  </a:cubicBezTo>
                  <a:cubicBezTo>
                    <a:pt x="58325" y="255972"/>
                    <a:pt x="55470" y="258827"/>
                    <a:pt x="55470" y="257875"/>
                  </a:cubicBezTo>
                  <a:lnTo>
                    <a:pt x="55470" y="257875"/>
                  </a:lnTo>
                  <a:cubicBezTo>
                    <a:pt x="54518" y="257875"/>
                    <a:pt x="54518" y="258827"/>
                    <a:pt x="53566" y="258827"/>
                  </a:cubicBezTo>
                  <a:cubicBezTo>
                    <a:pt x="52614" y="259778"/>
                    <a:pt x="40239" y="270246"/>
                    <a:pt x="39287" y="271197"/>
                  </a:cubicBezTo>
                  <a:lnTo>
                    <a:pt x="38335" y="271197"/>
                  </a:lnTo>
                  <a:cubicBezTo>
                    <a:pt x="36432" y="272149"/>
                    <a:pt x="35480" y="274052"/>
                    <a:pt x="37384" y="273100"/>
                  </a:cubicBezTo>
                  <a:lnTo>
                    <a:pt x="34528" y="274052"/>
                  </a:lnTo>
                  <a:lnTo>
                    <a:pt x="34528" y="274052"/>
                  </a:lnTo>
                  <a:lnTo>
                    <a:pt x="31672" y="275004"/>
                  </a:lnTo>
                  <a:cubicBezTo>
                    <a:pt x="30720" y="275004"/>
                    <a:pt x="30720" y="275004"/>
                    <a:pt x="30720" y="274052"/>
                  </a:cubicBezTo>
                  <a:cubicBezTo>
                    <a:pt x="29768" y="275004"/>
                    <a:pt x="27865" y="275955"/>
                    <a:pt x="26913" y="276907"/>
                  </a:cubicBezTo>
                  <a:cubicBezTo>
                    <a:pt x="31672" y="275955"/>
                    <a:pt x="36432" y="274052"/>
                    <a:pt x="41191" y="274052"/>
                  </a:cubicBezTo>
                  <a:cubicBezTo>
                    <a:pt x="39287" y="275004"/>
                    <a:pt x="36432" y="275955"/>
                    <a:pt x="34528" y="276907"/>
                  </a:cubicBezTo>
                  <a:cubicBezTo>
                    <a:pt x="31672" y="276907"/>
                    <a:pt x="26913" y="278810"/>
                    <a:pt x="23105" y="279761"/>
                  </a:cubicBezTo>
                  <a:cubicBezTo>
                    <a:pt x="22153" y="279761"/>
                    <a:pt x="22153" y="281664"/>
                    <a:pt x="20249" y="281664"/>
                  </a:cubicBezTo>
                  <a:cubicBezTo>
                    <a:pt x="19297" y="280713"/>
                    <a:pt x="18346" y="282616"/>
                    <a:pt x="16442" y="282616"/>
                  </a:cubicBezTo>
                  <a:cubicBezTo>
                    <a:pt x="17394" y="281664"/>
                    <a:pt x="19297" y="280713"/>
                    <a:pt x="21201" y="279761"/>
                  </a:cubicBezTo>
                  <a:cubicBezTo>
                    <a:pt x="20249" y="278810"/>
                    <a:pt x="16442" y="280713"/>
                    <a:pt x="15490" y="281664"/>
                  </a:cubicBezTo>
                  <a:cubicBezTo>
                    <a:pt x="15490" y="282616"/>
                    <a:pt x="11682" y="283568"/>
                    <a:pt x="9778" y="284519"/>
                  </a:cubicBezTo>
                  <a:cubicBezTo>
                    <a:pt x="9778" y="282616"/>
                    <a:pt x="7875" y="284519"/>
                    <a:pt x="5971" y="284519"/>
                  </a:cubicBezTo>
                  <a:cubicBezTo>
                    <a:pt x="4067" y="285471"/>
                    <a:pt x="4067" y="285471"/>
                    <a:pt x="5019" y="286422"/>
                  </a:cubicBezTo>
                  <a:cubicBezTo>
                    <a:pt x="5019" y="288325"/>
                    <a:pt x="10730" y="284519"/>
                    <a:pt x="9778" y="286422"/>
                  </a:cubicBezTo>
                  <a:cubicBezTo>
                    <a:pt x="8827" y="286422"/>
                    <a:pt x="5971" y="287374"/>
                    <a:pt x="5019" y="288325"/>
                  </a:cubicBezTo>
                  <a:cubicBezTo>
                    <a:pt x="5019" y="289277"/>
                    <a:pt x="5971" y="288325"/>
                    <a:pt x="5971" y="289277"/>
                  </a:cubicBezTo>
                  <a:cubicBezTo>
                    <a:pt x="4067" y="290229"/>
                    <a:pt x="3115" y="291180"/>
                    <a:pt x="1211" y="291180"/>
                  </a:cubicBezTo>
                  <a:lnTo>
                    <a:pt x="2163" y="290229"/>
                  </a:lnTo>
                  <a:cubicBezTo>
                    <a:pt x="259" y="291180"/>
                    <a:pt x="11682" y="280713"/>
                    <a:pt x="8827" y="281664"/>
                  </a:cubicBezTo>
                  <a:cubicBezTo>
                    <a:pt x="9778" y="281664"/>
                    <a:pt x="-1644" y="291180"/>
                    <a:pt x="259" y="291180"/>
                  </a:cubicBezTo>
                  <a:cubicBezTo>
                    <a:pt x="2163" y="291180"/>
                    <a:pt x="259" y="293083"/>
                    <a:pt x="1211" y="292132"/>
                  </a:cubicBezTo>
                  <a:lnTo>
                    <a:pt x="2163" y="290229"/>
                  </a:lnTo>
                  <a:cubicBezTo>
                    <a:pt x="4067" y="289277"/>
                    <a:pt x="5019" y="290229"/>
                    <a:pt x="5019" y="291180"/>
                  </a:cubicBezTo>
                  <a:cubicBezTo>
                    <a:pt x="2163" y="292132"/>
                    <a:pt x="11682" y="282616"/>
                    <a:pt x="8827" y="284519"/>
                  </a:cubicBezTo>
                  <a:lnTo>
                    <a:pt x="9778" y="284519"/>
                  </a:lnTo>
                  <a:cubicBezTo>
                    <a:pt x="8827" y="285471"/>
                    <a:pt x="5971" y="287374"/>
                    <a:pt x="5019" y="287374"/>
                  </a:cubicBezTo>
                  <a:cubicBezTo>
                    <a:pt x="5019" y="288325"/>
                    <a:pt x="4067" y="289277"/>
                    <a:pt x="3115" y="290229"/>
                  </a:cubicBezTo>
                  <a:lnTo>
                    <a:pt x="2163" y="290229"/>
                  </a:lnTo>
                  <a:cubicBezTo>
                    <a:pt x="1211" y="291180"/>
                    <a:pt x="-692" y="292132"/>
                    <a:pt x="259" y="292132"/>
                  </a:cubicBezTo>
                  <a:cubicBezTo>
                    <a:pt x="7875" y="288325"/>
                    <a:pt x="-1644" y="300696"/>
                    <a:pt x="5971" y="297841"/>
                  </a:cubicBezTo>
                  <a:cubicBezTo>
                    <a:pt x="2163" y="297841"/>
                    <a:pt x="5971" y="295938"/>
                    <a:pt x="9778" y="294035"/>
                  </a:cubicBezTo>
                  <a:cubicBezTo>
                    <a:pt x="10730" y="294035"/>
                    <a:pt x="11682" y="294035"/>
                    <a:pt x="14538" y="294035"/>
                  </a:cubicBezTo>
                  <a:cubicBezTo>
                    <a:pt x="16442" y="293083"/>
                    <a:pt x="15490" y="293083"/>
                    <a:pt x="15490" y="292132"/>
                  </a:cubicBezTo>
                  <a:cubicBezTo>
                    <a:pt x="16442" y="292132"/>
                    <a:pt x="19297" y="291180"/>
                    <a:pt x="19297" y="292132"/>
                  </a:cubicBezTo>
                  <a:cubicBezTo>
                    <a:pt x="20249" y="290229"/>
                    <a:pt x="22153" y="291180"/>
                    <a:pt x="24057" y="290229"/>
                  </a:cubicBezTo>
                  <a:cubicBezTo>
                    <a:pt x="25961" y="289277"/>
                    <a:pt x="24057" y="290229"/>
                    <a:pt x="25009" y="289277"/>
                  </a:cubicBezTo>
                  <a:cubicBezTo>
                    <a:pt x="27865" y="288325"/>
                    <a:pt x="30720" y="286422"/>
                    <a:pt x="32624" y="285471"/>
                  </a:cubicBezTo>
                  <a:cubicBezTo>
                    <a:pt x="33576" y="285471"/>
                    <a:pt x="36432" y="285471"/>
                    <a:pt x="35480" y="288325"/>
                  </a:cubicBezTo>
                  <a:cubicBezTo>
                    <a:pt x="31672" y="290229"/>
                    <a:pt x="36432" y="285471"/>
                    <a:pt x="32624" y="288325"/>
                  </a:cubicBezTo>
                  <a:cubicBezTo>
                    <a:pt x="35480" y="289277"/>
                    <a:pt x="29768" y="290229"/>
                    <a:pt x="29768" y="292132"/>
                  </a:cubicBezTo>
                  <a:cubicBezTo>
                    <a:pt x="31672" y="292132"/>
                    <a:pt x="33576" y="291180"/>
                    <a:pt x="35480" y="290229"/>
                  </a:cubicBezTo>
                  <a:lnTo>
                    <a:pt x="34528" y="290229"/>
                  </a:lnTo>
                  <a:cubicBezTo>
                    <a:pt x="36432" y="289277"/>
                    <a:pt x="40239" y="287374"/>
                    <a:pt x="42143" y="286422"/>
                  </a:cubicBezTo>
                  <a:cubicBezTo>
                    <a:pt x="42143" y="287374"/>
                    <a:pt x="43095" y="287374"/>
                    <a:pt x="42143" y="288325"/>
                  </a:cubicBezTo>
                  <a:lnTo>
                    <a:pt x="44999" y="287374"/>
                  </a:lnTo>
                  <a:cubicBezTo>
                    <a:pt x="44999" y="287374"/>
                    <a:pt x="44999" y="286422"/>
                    <a:pt x="44999" y="287374"/>
                  </a:cubicBezTo>
                  <a:cubicBezTo>
                    <a:pt x="45951" y="286422"/>
                    <a:pt x="46903" y="286422"/>
                    <a:pt x="48806" y="285471"/>
                  </a:cubicBezTo>
                  <a:cubicBezTo>
                    <a:pt x="49758" y="285471"/>
                    <a:pt x="61181" y="275955"/>
                    <a:pt x="61181" y="276907"/>
                  </a:cubicBezTo>
                  <a:cubicBezTo>
                    <a:pt x="63085" y="275955"/>
                    <a:pt x="64037" y="276907"/>
                    <a:pt x="64989" y="275004"/>
                  </a:cubicBezTo>
                  <a:cubicBezTo>
                    <a:pt x="64989" y="274052"/>
                    <a:pt x="48806" y="285471"/>
                    <a:pt x="50710" y="284519"/>
                  </a:cubicBezTo>
                  <a:cubicBezTo>
                    <a:pt x="52614" y="284519"/>
                    <a:pt x="69748" y="271197"/>
                    <a:pt x="71652" y="272149"/>
                  </a:cubicBezTo>
                  <a:cubicBezTo>
                    <a:pt x="72604" y="271197"/>
                    <a:pt x="74508" y="270246"/>
                    <a:pt x="73556" y="270246"/>
                  </a:cubicBezTo>
                  <a:cubicBezTo>
                    <a:pt x="76411" y="269294"/>
                    <a:pt x="73556" y="272149"/>
                    <a:pt x="75460" y="271197"/>
                  </a:cubicBezTo>
                  <a:lnTo>
                    <a:pt x="75460" y="271197"/>
                  </a:lnTo>
                  <a:lnTo>
                    <a:pt x="77363" y="271197"/>
                  </a:lnTo>
                  <a:cubicBezTo>
                    <a:pt x="80219" y="268343"/>
                    <a:pt x="85930" y="267391"/>
                    <a:pt x="89738" y="264536"/>
                  </a:cubicBezTo>
                  <a:cubicBezTo>
                    <a:pt x="88786" y="265488"/>
                    <a:pt x="88786" y="267391"/>
                    <a:pt x="85930" y="269294"/>
                  </a:cubicBezTo>
                  <a:lnTo>
                    <a:pt x="84979" y="269294"/>
                  </a:lnTo>
                  <a:lnTo>
                    <a:pt x="83075" y="271197"/>
                  </a:lnTo>
                  <a:cubicBezTo>
                    <a:pt x="85930" y="270246"/>
                    <a:pt x="87834" y="269294"/>
                    <a:pt x="89738" y="267391"/>
                  </a:cubicBezTo>
                  <a:cubicBezTo>
                    <a:pt x="90690" y="267391"/>
                    <a:pt x="90690" y="267391"/>
                    <a:pt x="91642" y="267391"/>
                  </a:cubicBezTo>
                  <a:lnTo>
                    <a:pt x="91642" y="267391"/>
                  </a:lnTo>
                  <a:cubicBezTo>
                    <a:pt x="92594" y="267391"/>
                    <a:pt x="92594" y="267391"/>
                    <a:pt x="92594" y="268343"/>
                  </a:cubicBezTo>
                  <a:lnTo>
                    <a:pt x="92594" y="268343"/>
                  </a:lnTo>
                  <a:cubicBezTo>
                    <a:pt x="94498" y="269294"/>
                    <a:pt x="101161" y="262633"/>
                    <a:pt x="105920" y="261681"/>
                  </a:cubicBezTo>
                  <a:cubicBezTo>
                    <a:pt x="106872" y="260730"/>
                    <a:pt x="105920" y="261681"/>
                    <a:pt x="106872" y="259778"/>
                  </a:cubicBezTo>
                  <a:cubicBezTo>
                    <a:pt x="111632" y="258827"/>
                    <a:pt x="114487" y="257875"/>
                    <a:pt x="119247" y="255972"/>
                  </a:cubicBezTo>
                  <a:cubicBezTo>
                    <a:pt x="120199" y="254069"/>
                    <a:pt x="120199" y="254069"/>
                    <a:pt x="118295" y="254069"/>
                  </a:cubicBezTo>
                  <a:lnTo>
                    <a:pt x="122103" y="253117"/>
                  </a:lnTo>
                  <a:cubicBezTo>
                    <a:pt x="120199" y="256924"/>
                    <a:pt x="129718" y="252166"/>
                    <a:pt x="126862" y="255972"/>
                  </a:cubicBezTo>
                  <a:cubicBezTo>
                    <a:pt x="127814" y="255972"/>
                    <a:pt x="129718" y="255021"/>
                    <a:pt x="131622" y="254069"/>
                  </a:cubicBezTo>
                  <a:cubicBezTo>
                    <a:pt x="131622" y="253117"/>
                    <a:pt x="131622" y="252166"/>
                    <a:pt x="133525" y="251214"/>
                  </a:cubicBezTo>
                  <a:cubicBezTo>
                    <a:pt x="137333" y="250263"/>
                    <a:pt x="136381" y="250263"/>
                    <a:pt x="139237" y="249311"/>
                  </a:cubicBezTo>
                  <a:cubicBezTo>
                    <a:pt x="140189" y="249311"/>
                    <a:pt x="139237" y="250263"/>
                    <a:pt x="140189" y="251214"/>
                  </a:cubicBezTo>
                  <a:cubicBezTo>
                    <a:pt x="143996" y="248360"/>
                    <a:pt x="144948" y="251214"/>
                    <a:pt x="148756" y="248360"/>
                  </a:cubicBezTo>
                  <a:cubicBezTo>
                    <a:pt x="151612" y="247408"/>
                    <a:pt x="156371" y="244553"/>
                    <a:pt x="155419" y="243602"/>
                  </a:cubicBezTo>
                  <a:cubicBezTo>
                    <a:pt x="161131" y="236941"/>
                    <a:pt x="161131" y="237892"/>
                    <a:pt x="161131" y="238844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  <p:sp>
          <p:nvSpPr>
            <p:cNvPr id="11" name="Kombinationstegning 10">
              <a:extLst>
                <a:ext uri="{FF2B5EF4-FFF2-40B4-BE49-F238E27FC236}">
                  <a16:creationId xmlns:a16="http://schemas.microsoft.com/office/drawing/2014/main" id="{F4F00D4A-85ED-1F45-9352-DB89BAE5780C}"/>
                </a:ext>
              </a:extLst>
            </p:cNvPr>
            <p:cNvSpPr/>
            <p:nvPr/>
          </p:nvSpPr>
          <p:spPr>
            <a:xfrm>
              <a:off x="4230253" y="1614978"/>
              <a:ext cx="327509" cy="227766"/>
            </a:xfrm>
            <a:custGeom>
              <a:avLst/>
              <a:gdLst>
                <a:gd name="connsiteX0" fmla="*/ 139034 w 327509"/>
                <a:gd name="connsiteY0" fmla="*/ 58997 h 227766"/>
                <a:gd name="connsiteX1" fmla="*/ 141889 w 327509"/>
                <a:gd name="connsiteY1" fmla="*/ 58997 h 227766"/>
                <a:gd name="connsiteX2" fmla="*/ 116188 w 327509"/>
                <a:gd name="connsiteY2" fmla="*/ 61852 h 227766"/>
                <a:gd name="connsiteX3" fmla="*/ 170446 w 327509"/>
                <a:gd name="connsiteY3" fmla="*/ 51385 h 227766"/>
                <a:gd name="connsiteX4" fmla="*/ 191388 w 327509"/>
                <a:gd name="connsiteY4" fmla="*/ 54239 h 227766"/>
                <a:gd name="connsiteX5" fmla="*/ 201859 w 327509"/>
                <a:gd name="connsiteY5" fmla="*/ 50433 h 227766"/>
                <a:gd name="connsiteX6" fmla="*/ 194244 w 327509"/>
                <a:gd name="connsiteY6" fmla="*/ 53288 h 227766"/>
                <a:gd name="connsiteX7" fmla="*/ 201859 w 327509"/>
                <a:gd name="connsiteY7" fmla="*/ 50433 h 227766"/>
                <a:gd name="connsiteX8" fmla="*/ 210426 w 327509"/>
                <a:gd name="connsiteY8" fmla="*/ 47578 h 227766"/>
                <a:gd name="connsiteX9" fmla="*/ 218041 w 327509"/>
                <a:gd name="connsiteY9" fmla="*/ 45675 h 227766"/>
                <a:gd name="connsiteX10" fmla="*/ 224705 w 327509"/>
                <a:gd name="connsiteY10" fmla="*/ 43772 h 227766"/>
                <a:gd name="connsiteX11" fmla="*/ 231368 w 327509"/>
                <a:gd name="connsiteY11" fmla="*/ 44724 h 227766"/>
                <a:gd name="connsiteX12" fmla="*/ 231368 w 327509"/>
                <a:gd name="connsiteY12" fmla="*/ 44724 h 227766"/>
                <a:gd name="connsiteX13" fmla="*/ 230416 w 327509"/>
                <a:gd name="connsiteY13" fmla="*/ 45675 h 227766"/>
                <a:gd name="connsiteX14" fmla="*/ 225657 w 327509"/>
                <a:gd name="connsiteY14" fmla="*/ 48530 h 227766"/>
                <a:gd name="connsiteX15" fmla="*/ 219945 w 327509"/>
                <a:gd name="connsiteY15" fmla="*/ 51385 h 227766"/>
                <a:gd name="connsiteX16" fmla="*/ 218993 w 327509"/>
                <a:gd name="connsiteY16" fmla="*/ 51385 h 227766"/>
                <a:gd name="connsiteX17" fmla="*/ 219945 w 327509"/>
                <a:gd name="connsiteY17" fmla="*/ 51385 h 227766"/>
                <a:gd name="connsiteX18" fmla="*/ 220897 w 327509"/>
                <a:gd name="connsiteY18" fmla="*/ 53288 h 227766"/>
                <a:gd name="connsiteX19" fmla="*/ 220897 w 327509"/>
                <a:gd name="connsiteY19" fmla="*/ 53288 h 227766"/>
                <a:gd name="connsiteX20" fmla="*/ 219945 w 327509"/>
                <a:gd name="connsiteY20" fmla="*/ 54239 h 227766"/>
                <a:gd name="connsiteX21" fmla="*/ 218041 w 327509"/>
                <a:gd name="connsiteY21" fmla="*/ 56143 h 227766"/>
                <a:gd name="connsiteX22" fmla="*/ 213282 w 327509"/>
                <a:gd name="connsiteY22" fmla="*/ 60900 h 227766"/>
                <a:gd name="connsiteX23" fmla="*/ 218993 w 327509"/>
                <a:gd name="connsiteY23" fmla="*/ 59949 h 227766"/>
                <a:gd name="connsiteX24" fmla="*/ 215186 w 327509"/>
                <a:gd name="connsiteY24" fmla="*/ 61852 h 227766"/>
                <a:gd name="connsiteX25" fmla="*/ 203763 w 327509"/>
                <a:gd name="connsiteY25" fmla="*/ 75174 h 227766"/>
                <a:gd name="connsiteX26" fmla="*/ 199003 w 327509"/>
                <a:gd name="connsiteY26" fmla="*/ 77077 h 227766"/>
                <a:gd name="connsiteX27" fmla="*/ 199955 w 327509"/>
                <a:gd name="connsiteY27" fmla="*/ 77077 h 227766"/>
                <a:gd name="connsiteX28" fmla="*/ 174254 w 327509"/>
                <a:gd name="connsiteY28" fmla="*/ 98011 h 227766"/>
                <a:gd name="connsiteX29" fmla="*/ 171398 w 327509"/>
                <a:gd name="connsiteY29" fmla="*/ 98963 h 227766"/>
                <a:gd name="connsiteX30" fmla="*/ 164735 w 327509"/>
                <a:gd name="connsiteY30" fmla="*/ 105624 h 227766"/>
                <a:gd name="connsiteX31" fmla="*/ 160927 w 327509"/>
                <a:gd name="connsiteY31" fmla="*/ 105624 h 227766"/>
                <a:gd name="connsiteX32" fmla="*/ 146649 w 327509"/>
                <a:gd name="connsiteY32" fmla="*/ 120849 h 227766"/>
                <a:gd name="connsiteX33" fmla="*/ 91439 w 327509"/>
                <a:gd name="connsiteY33" fmla="*/ 170331 h 227766"/>
                <a:gd name="connsiteX34" fmla="*/ 92391 w 327509"/>
                <a:gd name="connsiteY34" fmla="*/ 170331 h 227766"/>
                <a:gd name="connsiteX35" fmla="*/ 73353 w 327509"/>
                <a:gd name="connsiteY35" fmla="*/ 189362 h 227766"/>
                <a:gd name="connsiteX36" fmla="*/ 60978 w 327509"/>
                <a:gd name="connsiteY36" fmla="*/ 207442 h 227766"/>
                <a:gd name="connsiteX37" fmla="*/ 46699 w 327509"/>
                <a:gd name="connsiteY37" fmla="*/ 222667 h 227766"/>
                <a:gd name="connsiteX38" fmla="*/ 45747 w 327509"/>
                <a:gd name="connsiteY38" fmla="*/ 227425 h 227766"/>
                <a:gd name="connsiteX39" fmla="*/ 55266 w 327509"/>
                <a:gd name="connsiteY39" fmla="*/ 221715 h 227766"/>
                <a:gd name="connsiteX40" fmla="*/ 55266 w 327509"/>
                <a:gd name="connsiteY40" fmla="*/ 221715 h 227766"/>
                <a:gd name="connsiteX41" fmla="*/ 110477 w 327509"/>
                <a:gd name="connsiteY41" fmla="*/ 182701 h 227766"/>
                <a:gd name="connsiteX42" fmla="*/ 146649 w 327509"/>
                <a:gd name="connsiteY42" fmla="*/ 152251 h 227766"/>
                <a:gd name="connsiteX43" fmla="*/ 183773 w 327509"/>
                <a:gd name="connsiteY43" fmla="*/ 118946 h 227766"/>
                <a:gd name="connsiteX44" fmla="*/ 191388 w 327509"/>
                <a:gd name="connsiteY44" fmla="*/ 114188 h 227766"/>
                <a:gd name="connsiteX45" fmla="*/ 226608 w 327509"/>
                <a:gd name="connsiteY45" fmla="*/ 84690 h 227766"/>
                <a:gd name="connsiteX46" fmla="*/ 225657 w 327509"/>
                <a:gd name="connsiteY46" fmla="*/ 84690 h 227766"/>
                <a:gd name="connsiteX47" fmla="*/ 234224 w 327509"/>
                <a:gd name="connsiteY47" fmla="*/ 78029 h 227766"/>
                <a:gd name="connsiteX48" fmla="*/ 238983 w 327509"/>
                <a:gd name="connsiteY48" fmla="*/ 75174 h 227766"/>
                <a:gd name="connsiteX49" fmla="*/ 240887 w 327509"/>
                <a:gd name="connsiteY49" fmla="*/ 73271 h 227766"/>
                <a:gd name="connsiteX50" fmla="*/ 244695 w 327509"/>
                <a:gd name="connsiteY50" fmla="*/ 70416 h 227766"/>
                <a:gd name="connsiteX51" fmla="*/ 246598 w 327509"/>
                <a:gd name="connsiteY51" fmla="*/ 68513 h 227766"/>
                <a:gd name="connsiteX52" fmla="*/ 275155 w 327509"/>
                <a:gd name="connsiteY52" fmla="*/ 43772 h 227766"/>
                <a:gd name="connsiteX53" fmla="*/ 300857 w 327509"/>
                <a:gd name="connsiteY53" fmla="*/ 20934 h 227766"/>
                <a:gd name="connsiteX54" fmla="*/ 302760 w 327509"/>
                <a:gd name="connsiteY54" fmla="*/ 19031 h 227766"/>
                <a:gd name="connsiteX55" fmla="*/ 320847 w 327509"/>
                <a:gd name="connsiteY55" fmla="*/ 5709 h 227766"/>
                <a:gd name="connsiteX56" fmla="*/ 325606 w 327509"/>
                <a:gd name="connsiteY56" fmla="*/ 1903 h 227766"/>
                <a:gd name="connsiteX57" fmla="*/ 326558 w 327509"/>
                <a:gd name="connsiteY57" fmla="*/ 951 h 227766"/>
                <a:gd name="connsiteX58" fmla="*/ 327510 w 327509"/>
                <a:gd name="connsiteY58" fmla="*/ 0 h 227766"/>
                <a:gd name="connsiteX59" fmla="*/ 325606 w 327509"/>
                <a:gd name="connsiteY59" fmla="*/ 0 h 227766"/>
                <a:gd name="connsiteX60" fmla="*/ 318943 w 327509"/>
                <a:gd name="connsiteY60" fmla="*/ 0 h 227766"/>
                <a:gd name="connsiteX61" fmla="*/ 285626 w 327509"/>
                <a:gd name="connsiteY61" fmla="*/ 3806 h 227766"/>
                <a:gd name="connsiteX62" fmla="*/ 265636 w 327509"/>
                <a:gd name="connsiteY62" fmla="*/ 10467 h 227766"/>
                <a:gd name="connsiteX63" fmla="*/ 255165 w 327509"/>
                <a:gd name="connsiteY63" fmla="*/ 13322 h 227766"/>
                <a:gd name="connsiteX64" fmla="*/ 244695 w 327509"/>
                <a:gd name="connsiteY64" fmla="*/ 12370 h 227766"/>
                <a:gd name="connsiteX65" fmla="*/ 243743 w 327509"/>
                <a:gd name="connsiteY65" fmla="*/ 14274 h 227766"/>
                <a:gd name="connsiteX66" fmla="*/ 216138 w 327509"/>
                <a:gd name="connsiteY66" fmla="*/ 19983 h 227766"/>
                <a:gd name="connsiteX67" fmla="*/ 213282 w 327509"/>
                <a:gd name="connsiteY67" fmla="*/ 20934 h 227766"/>
                <a:gd name="connsiteX68" fmla="*/ 211378 w 327509"/>
                <a:gd name="connsiteY68" fmla="*/ 21886 h 227766"/>
                <a:gd name="connsiteX69" fmla="*/ 207570 w 327509"/>
                <a:gd name="connsiteY69" fmla="*/ 22838 h 227766"/>
                <a:gd name="connsiteX70" fmla="*/ 202811 w 327509"/>
                <a:gd name="connsiteY70" fmla="*/ 22838 h 227766"/>
                <a:gd name="connsiteX71" fmla="*/ 192340 w 327509"/>
                <a:gd name="connsiteY71" fmla="*/ 23789 h 227766"/>
                <a:gd name="connsiteX72" fmla="*/ 176158 w 327509"/>
                <a:gd name="connsiteY72" fmla="*/ 28547 h 227766"/>
                <a:gd name="connsiteX73" fmla="*/ 177110 w 327509"/>
                <a:gd name="connsiteY73" fmla="*/ 28547 h 227766"/>
                <a:gd name="connsiteX74" fmla="*/ 159024 w 327509"/>
                <a:gd name="connsiteY74" fmla="*/ 28547 h 227766"/>
                <a:gd name="connsiteX75" fmla="*/ 102861 w 327509"/>
                <a:gd name="connsiteY75" fmla="*/ 37111 h 227766"/>
                <a:gd name="connsiteX76" fmla="*/ 106669 w 327509"/>
                <a:gd name="connsiteY76" fmla="*/ 38063 h 227766"/>
                <a:gd name="connsiteX77" fmla="*/ 76208 w 327509"/>
                <a:gd name="connsiteY77" fmla="*/ 39966 h 227766"/>
                <a:gd name="connsiteX78" fmla="*/ 71449 w 327509"/>
                <a:gd name="connsiteY78" fmla="*/ 39014 h 227766"/>
                <a:gd name="connsiteX79" fmla="*/ 67641 w 327509"/>
                <a:gd name="connsiteY79" fmla="*/ 39966 h 227766"/>
                <a:gd name="connsiteX80" fmla="*/ 66689 w 327509"/>
                <a:gd name="connsiteY80" fmla="*/ 39014 h 227766"/>
                <a:gd name="connsiteX81" fmla="*/ 58122 w 327509"/>
                <a:gd name="connsiteY81" fmla="*/ 39014 h 227766"/>
                <a:gd name="connsiteX82" fmla="*/ 55266 w 327509"/>
                <a:gd name="connsiteY82" fmla="*/ 39966 h 227766"/>
                <a:gd name="connsiteX83" fmla="*/ 51459 w 327509"/>
                <a:gd name="connsiteY83" fmla="*/ 39014 h 227766"/>
                <a:gd name="connsiteX84" fmla="*/ 51459 w 327509"/>
                <a:gd name="connsiteY84" fmla="*/ 39014 h 227766"/>
                <a:gd name="connsiteX85" fmla="*/ 49555 w 327509"/>
                <a:gd name="connsiteY85" fmla="*/ 39014 h 227766"/>
                <a:gd name="connsiteX86" fmla="*/ 35277 w 327509"/>
                <a:gd name="connsiteY86" fmla="*/ 45675 h 227766"/>
                <a:gd name="connsiteX87" fmla="*/ 34325 w 327509"/>
                <a:gd name="connsiteY87" fmla="*/ 45675 h 227766"/>
                <a:gd name="connsiteX88" fmla="*/ 32421 w 327509"/>
                <a:gd name="connsiteY88" fmla="*/ 47578 h 227766"/>
                <a:gd name="connsiteX89" fmla="*/ 30517 w 327509"/>
                <a:gd name="connsiteY89" fmla="*/ 47578 h 227766"/>
                <a:gd name="connsiteX90" fmla="*/ 30517 w 327509"/>
                <a:gd name="connsiteY90" fmla="*/ 47578 h 227766"/>
                <a:gd name="connsiteX91" fmla="*/ 28613 w 327509"/>
                <a:gd name="connsiteY91" fmla="*/ 47578 h 227766"/>
                <a:gd name="connsiteX92" fmla="*/ 28613 w 327509"/>
                <a:gd name="connsiteY92" fmla="*/ 46627 h 227766"/>
                <a:gd name="connsiteX93" fmla="*/ 24806 w 327509"/>
                <a:gd name="connsiteY93" fmla="*/ 47578 h 227766"/>
                <a:gd name="connsiteX94" fmla="*/ 37180 w 327509"/>
                <a:gd name="connsiteY94" fmla="*/ 49482 h 227766"/>
                <a:gd name="connsiteX95" fmla="*/ 31469 w 327509"/>
                <a:gd name="connsiteY95" fmla="*/ 50433 h 227766"/>
                <a:gd name="connsiteX96" fmla="*/ 21950 w 327509"/>
                <a:gd name="connsiteY96" fmla="*/ 49482 h 227766"/>
                <a:gd name="connsiteX97" fmla="*/ 19094 w 327509"/>
                <a:gd name="connsiteY97" fmla="*/ 50433 h 227766"/>
                <a:gd name="connsiteX98" fmla="*/ 16239 w 327509"/>
                <a:gd name="connsiteY98" fmla="*/ 50433 h 227766"/>
                <a:gd name="connsiteX99" fmla="*/ 20998 w 327509"/>
                <a:gd name="connsiteY99" fmla="*/ 49482 h 227766"/>
                <a:gd name="connsiteX100" fmla="*/ 16239 w 327509"/>
                <a:gd name="connsiteY100" fmla="*/ 48530 h 227766"/>
                <a:gd name="connsiteX101" fmla="*/ 10527 w 327509"/>
                <a:gd name="connsiteY101" fmla="*/ 49482 h 227766"/>
                <a:gd name="connsiteX102" fmla="*/ 7672 w 327509"/>
                <a:gd name="connsiteY102" fmla="*/ 48530 h 227766"/>
                <a:gd name="connsiteX103" fmla="*/ 5768 w 327509"/>
                <a:gd name="connsiteY103" fmla="*/ 49482 h 227766"/>
                <a:gd name="connsiteX104" fmla="*/ 9575 w 327509"/>
                <a:gd name="connsiteY104" fmla="*/ 51385 h 227766"/>
                <a:gd name="connsiteX105" fmla="*/ 4816 w 327509"/>
                <a:gd name="connsiteY105" fmla="*/ 51385 h 227766"/>
                <a:gd name="connsiteX106" fmla="*/ 4816 w 327509"/>
                <a:gd name="connsiteY106" fmla="*/ 52336 h 227766"/>
                <a:gd name="connsiteX107" fmla="*/ 1008 w 327509"/>
                <a:gd name="connsiteY107" fmla="*/ 52336 h 227766"/>
                <a:gd name="connsiteX108" fmla="*/ 1960 w 327509"/>
                <a:gd name="connsiteY108" fmla="*/ 52336 h 227766"/>
                <a:gd name="connsiteX109" fmla="*/ 9575 w 327509"/>
                <a:gd name="connsiteY109" fmla="*/ 47578 h 227766"/>
                <a:gd name="connsiteX110" fmla="*/ 56 w 327509"/>
                <a:gd name="connsiteY110" fmla="*/ 52336 h 227766"/>
                <a:gd name="connsiteX111" fmla="*/ 1008 w 327509"/>
                <a:gd name="connsiteY111" fmla="*/ 54239 h 227766"/>
                <a:gd name="connsiteX112" fmla="*/ 1960 w 327509"/>
                <a:gd name="connsiteY112" fmla="*/ 53288 h 227766"/>
                <a:gd name="connsiteX113" fmla="*/ 3864 w 327509"/>
                <a:gd name="connsiteY113" fmla="*/ 55191 h 227766"/>
                <a:gd name="connsiteX114" fmla="*/ 9575 w 327509"/>
                <a:gd name="connsiteY114" fmla="*/ 50433 h 227766"/>
                <a:gd name="connsiteX115" fmla="*/ 10527 w 327509"/>
                <a:gd name="connsiteY115" fmla="*/ 50433 h 227766"/>
                <a:gd name="connsiteX116" fmla="*/ 5768 w 327509"/>
                <a:gd name="connsiteY116" fmla="*/ 51385 h 227766"/>
                <a:gd name="connsiteX117" fmla="*/ 2912 w 327509"/>
                <a:gd name="connsiteY117" fmla="*/ 53288 h 227766"/>
                <a:gd name="connsiteX118" fmla="*/ 2912 w 327509"/>
                <a:gd name="connsiteY118" fmla="*/ 53288 h 227766"/>
                <a:gd name="connsiteX119" fmla="*/ 1008 w 327509"/>
                <a:gd name="connsiteY119" fmla="*/ 54239 h 227766"/>
                <a:gd name="connsiteX120" fmla="*/ 3864 w 327509"/>
                <a:gd name="connsiteY120" fmla="*/ 61852 h 227766"/>
                <a:gd name="connsiteX121" fmla="*/ 7672 w 327509"/>
                <a:gd name="connsiteY121" fmla="*/ 59949 h 227766"/>
                <a:gd name="connsiteX122" fmla="*/ 11479 w 327509"/>
                <a:gd name="connsiteY122" fmla="*/ 61852 h 227766"/>
                <a:gd name="connsiteX123" fmla="*/ 12431 w 327509"/>
                <a:gd name="connsiteY123" fmla="*/ 60900 h 227766"/>
                <a:gd name="connsiteX124" fmla="*/ 15287 w 327509"/>
                <a:gd name="connsiteY124" fmla="*/ 61852 h 227766"/>
                <a:gd name="connsiteX125" fmla="*/ 19094 w 327509"/>
                <a:gd name="connsiteY125" fmla="*/ 61852 h 227766"/>
                <a:gd name="connsiteX126" fmla="*/ 20046 w 327509"/>
                <a:gd name="connsiteY126" fmla="*/ 60900 h 227766"/>
                <a:gd name="connsiteX127" fmla="*/ 27661 w 327509"/>
                <a:gd name="connsiteY127" fmla="*/ 60900 h 227766"/>
                <a:gd name="connsiteX128" fmla="*/ 29565 w 327509"/>
                <a:gd name="connsiteY128" fmla="*/ 63755 h 227766"/>
                <a:gd name="connsiteX129" fmla="*/ 26709 w 327509"/>
                <a:gd name="connsiteY129" fmla="*/ 61852 h 227766"/>
                <a:gd name="connsiteX130" fmla="*/ 22902 w 327509"/>
                <a:gd name="connsiteY130" fmla="*/ 63755 h 227766"/>
                <a:gd name="connsiteX131" fmla="*/ 28613 w 327509"/>
                <a:gd name="connsiteY131" fmla="*/ 63755 h 227766"/>
                <a:gd name="connsiteX132" fmla="*/ 28613 w 327509"/>
                <a:gd name="connsiteY132" fmla="*/ 63755 h 227766"/>
                <a:gd name="connsiteX133" fmla="*/ 35277 w 327509"/>
                <a:gd name="connsiteY133" fmla="*/ 63755 h 227766"/>
                <a:gd name="connsiteX134" fmla="*/ 34325 w 327509"/>
                <a:gd name="connsiteY134" fmla="*/ 64707 h 227766"/>
                <a:gd name="connsiteX135" fmla="*/ 37180 w 327509"/>
                <a:gd name="connsiteY135" fmla="*/ 64707 h 227766"/>
                <a:gd name="connsiteX136" fmla="*/ 37180 w 327509"/>
                <a:gd name="connsiteY136" fmla="*/ 63755 h 227766"/>
                <a:gd name="connsiteX137" fmla="*/ 40036 w 327509"/>
                <a:gd name="connsiteY137" fmla="*/ 63755 h 227766"/>
                <a:gd name="connsiteX138" fmla="*/ 52411 w 327509"/>
                <a:gd name="connsiteY138" fmla="*/ 59949 h 227766"/>
                <a:gd name="connsiteX139" fmla="*/ 56218 w 327509"/>
                <a:gd name="connsiteY139" fmla="*/ 59949 h 227766"/>
                <a:gd name="connsiteX140" fmla="*/ 42892 w 327509"/>
                <a:gd name="connsiteY140" fmla="*/ 63755 h 227766"/>
                <a:gd name="connsiteX141" fmla="*/ 62882 w 327509"/>
                <a:gd name="connsiteY141" fmla="*/ 58997 h 227766"/>
                <a:gd name="connsiteX142" fmla="*/ 64785 w 327509"/>
                <a:gd name="connsiteY142" fmla="*/ 58046 h 227766"/>
                <a:gd name="connsiteX143" fmla="*/ 65737 w 327509"/>
                <a:gd name="connsiteY143" fmla="*/ 59949 h 227766"/>
                <a:gd name="connsiteX144" fmla="*/ 65737 w 327509"/>
                <a:gd name="connsiteY144" fmla="*/ 59949 h 227766"/>
                <a:gd name="connsiteX145" fmla="*/ 67641 w 327509"/>
                <a:gd name="connsiteY145" fmla="*/ 60900 h 227766"/>
                <a:gd name="connsiteX146" fmla="*/ 79064 w 327509"/>
                <a:gd name="connsiteY146" fmla="*/ 58046 h 227766"/>
                <a:gd name="connsiteX147" fmla="*/ 75256 w 327509"/>
                <a:gd name="connsiteY147" fmla="*/ 60900 h 227766"/>
                <a:gd name="connsiteX148" fmla="*/ 75256 w 327509"/>
                <a:gd name="connsiteY148" fmla="*/ 60900 h 227766"/>
                <a:gd name="connsiteX149" fmla="*/ 73353 w 327509"/>
                <a:gd name="connsiteY149" fmla="*/ 61852 h 227766"/>
                <a:gd name="connsiteX150" fmla="*/ 79064 w 327509"/>
                <a:gd name="connsiteY150" fmla="*/ 60900 h 227766"/>
                <a:gd name="connsiteX151" fmla="*/ 80016 w 327509"/>
                <a:gd name="connsiteY151" fmla="*/ 60900 h 227766"/>
                <a:gd name="connsiteX152" fmla="*/ 80016 w 327509"/>
                <a:gd name="connsiteY152" fmla="*/ 60900 h 227766"/>
                <a:gd name="connsiteX153" fmla="*/ 80968 w 327509"/>
                <a:gd name="connsiteY153" fmla="*/ 61852 h 227766"/>
                <a:gd name="connsiteX154" fmla="*/ 80968 w 327509"/>
                <a:gd name="connsiteY154" fmla="*/ 61852 h 227766"/>
                <a:gd name="connsiteX155" fmla="*/ 93342 w 327509"/>
                <a:gd name="connsiteY155" fmla="*/ 59949 h 227766"/>
                <a:gd name="connsiteX156" fmla="*/ 94294 w 327509"/>
                <a:gd name="connsiteY156" fmla="*/ 58997 h 227766"/>
                <a:gd name="connsiteX157" fmla="*/ 105717 w 327509"/>
                <a:gd name="connsiteY157" fmla="*/ 58997 h 227766"/>
                <a:gd name="connsiteX158" fmla="*/ 104765 w 327509"/>
                <a:gd name="connsiteY158" fmla="*/ 57094 h 227766"/>
                <a:gd name="connsiteX159" fmla="*/ 107621 w 327509"/>
                <a:gd name="connsiteY159" fmla="*/ 57094 h 227766"/>
                <a:gd name="connsiteX160" fmla="*/ 111429 w 327509"/>
                <a:gd name="connsiteY160" fmla="*/ 60900 h 227766"/>
                <a:gd name="connsiteX161" fmla="*/ 116188 w 327509"/>
                <a:gd name="connsiteY161" fmla="*/ 60900 h 227766"/>
                <a:gd name="connsiteX162" fmla="*/ 119044 w 327509"/>
                <a:gd name="connsiteY162" fmla="*/ 58997 h 227766"/>
                <a:gd name="connsiteX163" fmla="*/ 123803 w 327509"/>
                <a:gd name="connsiteY163" fmla="*/ 58997 h 227766"/>
                <a:gd name="connsiteX164" fmla="*/ 123803 w 327509"/>
                <a:gd name="connsiteY164" fmla="*/ 60900 h 227766"/>
                <a:gd name="connsiteX165" fmla="*/ 131418 w 327509"/>
                <a:gd name="connsiteY165" fmla="*/ 60900 h 227766"/>
                <a:gd name="connsiteX166" fmla="*/ 138082 w 327509"/>
                <a:gd name="connsiteY166" fmla="*/ 58046 h 227766"/>
                <a:gd name="connsiteX167" fmla="*/ 139034 w 327509"/>
                <a:gd name="connsiteY167" fmla="*/ 58997 h 22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27509" h="227766">
                  <a:moveTo>
                    <a:pt x="139034" y="58997"/>
                  </a:moveTo>
                  <a:lnTo>
                    <a:pt x="141889" y="58997"/>
                  </a:lnTo>
                  <a:cubicBezTo>
                    <a:pt x="133322" y="60900"/>
                    <a:pt x="124755" y="60900"/>
                    <a:pt x="116188" y="61852"/>
                  </a:cubicBezTo>
                  <a:cubicBezTo>
                    <a:pt x="135226" y="63755"/>
                    <a:pt x="158072" y="63755"/>
                    <a:pt x="170446" y="51385"/>
                  </a:cubicBezTo>
                  <a:cubicBezTo>
                    <a:pt x="173302" y="56143"/>
                    <a:pt x="191388" y="55191"/>
                    <a:pt x="191388" y="54239"/>
                  </a:cubicBezTo>
                  <a:cubicBezTo>
                    <a:pt x="195196" y="52336"/>
                    <a:pt x="199003" y="51385"/>
                    <a:pt x="201859" y="50433"/>
                  </a:cubicBezTo>
                  <a:cubicBezTo>
                    <a:pt x="199003" y="51385"/>
                    <a:pt x="197100" y="52336"/>
                    <a:pt x="194244" y="53288"/>
                  </a:cubicBezTo>
                  <a:cubicBezTo>
                    <a:pt x="197100" y="52336"/>
                    <a:pt x="199003" y="51385"/>
                    <a:pt x="201859" y="50433"/>
                  </a:cubicBezTo>
                  <a:cubicBezTo>
                    <a:pt x="204715" y="49482"/>
                    <a:pt x="207570" y="48530"/>
                    <a:pt x="210426" y="47578"/>
                  </a:cubicBezTo>
                  <a:cubicBezTo>
                    <a:pt x="213282" y="46627"/>
                    <a:pt x="217089" y="45675"/>
                    <a:pt x="218041" y="45675"/>
                  </a:cubicBezTo>
                  <a:cubicBezTo>
                    <a:pt x="219945" y="44724"/>
                    <a:pt x="222801" y="44724"/>
                    <a:pt x="224705" y="43772"/>
                  </a:cubicBezTo>
                  <a:cubicBezTo>
                    <a:pt x="228512" y="42821"/>
                    <a:pt x="231368" y="43772"/>
                    <a:pt x="231368" y="44724"/>
                  </a:cubicBezTo>
                  <a:lnTo>
                    <a:pt x="231368" y="44724"/>
                  </a:lnTo>
                  <a:cubicBezTo>
                    <a:pt x="231368" y="44724"/>
                    <a:pt x="232320" y="44724"/>
                    <a:pt x="230416" y="45675"/>
                  </a:cubicBezTo>
                  <a:cubicBezTo>
                    <a:pt x="228512" y="46627"/>
                    <a:pt x="227560" y="47578"/>
                    <a:pt x="225657" y="48530"/>
                  </a:cubicBezTo>
                  <a:cubicBezTo>
                    <a:pt x="222801" y="50433"/>
                    <a:pt x="220897" y="51385"/>
                    <a:pt x="219945" y="51385"/>
                  </a:cubicBezTo>
                  <a:lnTo>
                    <a:pt x="218993" y="51385"/>
                  </a:lnTo>
                  <a:cubicBezTo>
                    <a:pt x="219945" y="51385"/>
                    <a:pt x="219945" y="51385"/>
                    <a:pt x="219945" y="51385"/>
                  </a:cubicBezTo>
                  <a:cubicBezTo>
                    <a:pt x="220897" y="51385"/>
                    <a:pt x="220897" y="52336"/>
                    <a:pt x="220897" y="53288"/>
                  </a:cubicBezTo>
                  <a:lnTo>
                    <a:pt x="220897" y="53288"/>
                  </a:lnTo>
                  <a:lnTo>
                    <a:pt x="219945" y="54239"/>
                  </a:lnTo>
                  <a:lnTo>
                    <a:pt x="218041" y="56143"/>
                  </a:lnTo>
                  <a:cubicBezTo>
                    <a:pt x="216138" y="58046"/>
                    <a:pt x="215186" y="58997"/>
                    <a:pt x="213282" y="60900"/>
                  </a:cubicBezTo>
                  <a:cubicBezTo>
                    <a:pt x="215186" y="60900"/>
                    <a:pt x="215186" y="60900"/>
                    <a:pt x="218993" y="59949"/>
                  </a:cubicBezTo>
                  <a:lnTo>
                    <a:pt x="215186" y="61852"/>
                  </a:lnTo>
                  <a:cubicBezTo>
                    <a:pt x="213282" y="65658"/>
                    <a:pt x="206619" y="71368"/>
                    <a:pt x="203763" y="75174"/>
                  </a:cubicBezTo>
                  <a:cubicBezTo>
                    <a:pt x="203763" y="74222"/>
                    <a:pt x="200907" y="76126"/>
                    <a:pt x="199003" y="77077"/>
                  </a:cubicBezTo>
                  <a:lnTo>
                    <a:pt x="199955" y="77077"/>
                  </a:lnTo>
                  <a:cubicBezTo>
                    <a:pt x="191388" y="83738"/>
                    <a:pt x="181869" y="92302"/>
                    <a:pt x="174254" y="98011"/>
                  </a:cubicBezTo>
                  <a:cubicBezTo>
                    <a:pt x="173302" y="98963"/>
                    <a:pt x="172350" y="98963"/>
                    <a:pt x="171398" y="98963"/>
                  </a:cubicBezTo>
                  <a:lnTo>
                    <a:pt x="164735" y="105624"/>
                  </a:lnTo>
                  <a:cubicBezTo>
                    <a:pt x="164735" y="103721"/>
                    <a:pt x="158072" y="109430"/>
                    <a:pt x="160927" y="105624"/>
                  </a:cubicBezTo>
                  <a:cubicBezTo>
                    <a:pt x="156168" y="111334"/>
                    <a:pt x="150456" y="115140"/>
                    <a:pt x="146649" y="120849"/>
                  </a:cubicBezTo>
                  <a:cubicBezTo>
                    <a:pt x="127611" y="136074"/>
                    <a:pt x="108573" y="153203"/>
                    <a:pt x="91439" y="170331"/>
                  </a:cubicBezTo>
                  <a:lnTo>
                    <a:pt x="92391" y="170331"/>
                  </a:lnTo>
                  <a:cubicBezTo>
                    <a:pt x="86679" y="176992"/>
                    <a:pt x="81920" y="183653"/>
                    <a:pt x="73353" y="189362"/>
                  </a:cubicBezTo>
                  <a:cubicBezTo>
                    <a:pt x="68593" y="196023"/>
                    <a:pt x="60978" y="203636"/>
                    <a:pt x="60978" y="207442"/>
                  </a:cubicBezTo>
                  <a:cubicBezTo>
                    <a:pt x="54315" y="213151"/>
                    <a:pt x="52411" y="216958"/>
                    <a:pt x="46699" y="222667"/>
                  </a:cubicBezTo>
                  <a:cubicBezTo>
                    <a:pt x="49555" y="222667"/>
                    <a:pt x="41940" y="229328"/>
                    <a:pt x="45747" y="227425"/>
                  </a:cubicBezTo>
                  <a:cubicBezTo>
                    <a:pt x="51459" y="225522"/>
                    <a:pt x="50507" y="223619"/>
                    <a:pt x="55266" y="221715"/>
                  </a:cubicBezTo>
                  <a:lnTo>
                    <a:pt x="55266" y="221715"/>
                  </a:lnTo>
                  <a:cubicBezTo>
                    <a:pt x="74304" y="209345"/>
                    <a:pt x="92391" y="196023"/>
                    <a:pt x="110477" y="182701"/>
                  </a:cubicBezTo>
                  <a:cubicBezTo>
                    <a:pt x="121899" y="172234"/>
                    <a:pt x="135226" y="162718"/>
                    <a:pt x="146649" y="152251"/>
                  </a:cubicBezTo>
                  <a:cubicBezTo>
                    <a:pt x="159024" y="140832"/>
                    <a:pt x="173302" y="128462"/>
                    <a:pt x="183773" y="118946"/>
                  </a:cubicBezTo>
                  <a:cubicBezTo>
                    <a:pt x="186629" y="116091"/>
                    <a:pt x="188532" y="116091"/>
                    <a:pt x="191388" y="114188"/>
                  </a:cubicBezTo>
                  <a:cubicBezTo>
                    <a:pt x="200907" y="105624"/>
                    <a:pt x="215186" y="95157"/>
                    <a:pt x="226608" y="84690"/>
                  </a:cubicBezTo>
                  <a:cubicBezTo>
                    <a:pt x="226608" y="84690"/>
                    <a:pt x="226608" y="84690"/>
                    <a:pt x="225657" y="84690"/>
                  </a:cubicBezTo>
                  <a:cubicBezTo>
                    <a:pt x="228512" y="81835"/>
                    <a:pt x="231368" y="79932"/>
                    <a:pt x="234224" y="78029"/>
                  </a:cubicBezTo>
                  <a:lnTo>
                    <a:pt x="238983" y="75174"/>
                  </a:lnTo>
                  <a:lnTo>
                    <a:pt x="240887" y="73271"/>
                  </a:lnTo>
                  <a:cubicBezTo>
                    <a:pt x="241839" y="72319"/>
                    <a:pt x="243743" y="71368"/>
                    <a:pt x="244695" y="70416"/>
                  </a:cubicBezTo>
                  <a:cubicBezTo>
                    <a:pt x="244695" y="70416"/>
                    <a:pt x="245646" y="68513"/>
                    <a:pt x="246598" y="68513"/>
                  </a:cubicBezTo>
                  <a:cubicBezTo>
                    <a:pt x="248502" y="68513"/>
                    <a:pt x="262781" y="55191"/>
                    <a:pt x="275155" y="43772"/>
                  </a:cubicBezTo>
                  <a:cubicBezTo>
                    <a:pt x="287530" y="32353"/>
                    <a:pt x="297049" y="22838"/>
                    <a:pt x="300857" y="20934"/>
                  </a:cubicBezTo>
                  <a:lnTo>
                    <a:pt x="302760" y="19031"/>
                  </a:lnTo>
                  <a:cubicBezTo>
                    <a:pt x="308472" y="15225"/>
                    <a:pt x="314183" y="10467"/>
                    <a:pt x="320847" y="5709"/>
                  </a:cubicBezTo>
                  <a:lnTo>
                    <a:pt x="325606" y="1903"/>
                  </a:lnTo>
                  <a:lnTo>
                    <a:pt x="326558" y="951"/>
                  </a:lnTo>
                  <a:lnTo>
                    <a:pt x="327510" y="0"/>
                  </a:lnTo>
                  <a:lnTo>
                    <a:pt x="325606" y="0"/>
                  </a:lnTo>
                  <a:cubicBezTo>
                    <a:pt x="323702" y="0"/>
                    <a:pt x="320847" y="0"/>
                    <a:pt x="318943" y="0"/>
                  </a:cubicBezTo>
                  <a:cubicBezTo>
                    <a:pt x="309424" y="951"/>
                    <a:pt x="298001" y="1903"/>
                    <a:pt x="285626" y="3806"/>
                  </a:cubicBezTo>
                  <a:cubicBezTo>
                    <a:pt x="278963" y="5709"/>
                    <a:pt x="271348" y="7612"/>
                    <a:pt x="265636" y="10467"/>
                  </a:cubicBezTo>
                  <a:cubicBezTo>
                    <a:pt x="262781" y="10467"/>
                    <a:pt x="259925" y="12370"/>
                    <a:pt x="255165" y="13322"/>
                  </a:cubicBezTo>
                  <a:cubicBezTo>
                    <a:pt x="251358" y="11419"/>
                    <a:pt x="246598" y="12370"/>
                    <a:pt x="244695" y="12370"/>
                  </a:cubicBezTo>
                  <a:cubicBezTo>
                    <a:pt x="241839" y="13322"/>
                    <a:pt x="240887" y="14274"/>
                    <a:pt x="243743" y="14274"/>
                  </a:cubicBezTo>
                  <a:cubicBezTo>
                    <a:pt x="233272" y="17128"/>
                    <a:pt x="224705" y="18080"/>
                    <a:pt x="216138" y="19983"/>
                  </a:cubicBezTo>
                  <a:lnTo>
                    <a:pt x="213282" y="20934"/>
                  </a:lnTo>
                  <a:lnTo>
                    <a:pt x="211378" y="21886"/>
                  </a:lnTo>
                  <a:cubicBezTo>
                    <a:pt x="210426" y="21886"/>
                    <a:pt x="208522" y="22838"/>
                    <a:pt x="207570" y="22838"/>
                  </a:cubicBezTo>
                  <a:cubicBezTo>
                    <a:pt x="205667" y="23789"/>
                    <a:pt x="203763" y="22838"/>
                    <a:pt x="202811" y="22838"/>
                  </a:cubicBezTo>
                  <a:cubicBezTo>
                    <a:pt x="197100" y="24741"/>
                    <a:pt x="199003" y="22838"/>
                    <a:pt x="192340" y="23789"/>
                  </a:cubicBezTo>
                  <a:cubicBezTo>
                    <a:pt x="190436" y="22838"/>
                    <a:pt x="178062" y="28547"/>
                    <a:pt x="176158" y="28547"/>
                  </a:cubicBezTo>
                  <a:lnTo>
                    <a:pt x="177110" y="28547"/>
                  </a:lnTo>
                  <a:cubicBezTo>
                    <a:pt x="170446" y="29499"/>
                    <a:pt x="165687" y="27595"/>
                    <a:pt x="159024" y="28547"/>
                  </a:cubicBezTo>
                  <a:cubicBezTo>
                    <a:pt x="139986" y="30450"/>
                    <a:pt x="119996" y="35208"/>
                    <a:pt x="102861" y="37111"/>
                  </a:cubicBezTo>
                  <a:cubicBezTo>
                    <a:pt x="102861" y="39014"/>
                    <a:pt x="106669" y="36160"/>
                    <a:pt x="106669" y="38063"/>
                  </a:cubicBezTo>
                  <a:cubicBezTo>
                    <a:pt x="96198" y="39014"/>
                    <a:pt x="85727" y="39014"/>
                    <a:pt x="76208" y="39966"/>
                  </a:cubicBezTo>
                  <a:cubicBezTo>
                    <a:pt x="74304" y="39966"/>
                    <a:pt x="72401" y="39014"/>
                    <a:pt x="71449" y="39014"/>
                  </a:cubicBezTo>
                  <a:cubicBezTo>
                    <a:pt x="68593" y="39014"/>
                    <a:pt x="69545" y="39966"/>
                    <a:pt x="67641" y="39966"/>
                  </a:cubicBezTo>
                  <a:lnTo>
                    <a:pt x="66689" y="39014"/>
                  </a:lnTo>
                  <a:cubicBezTo>
                    <a:pt x="62882" y="40917"/>
                    <a:pt x="60978" y="38063"/>
                    <a:pt x="58122" y="39014"/>
                  </a:cubicBezTo>
                  <a:cubicBezTo>
                    <a:pt x="58122" y="39966"/>
                    <a:pt x="57170" y="39966"/>
                    <a:pt x="55266" y="39966"/>
                  </a:cubicBezTo>
                  <a:cubicBezTo>
                    <a:pt x="55266" y="39014"/>
                    <a:pt x="51459" y="40917"/>
                    <a:pt x="51459" y="39014"/>
                  </a:cubicBezTo>
                  <a:lnTo>
                    <a:pt x="51459" y="39014"/>
                  </a:lnTo>
                  <a:cubicBezTo>
                    <a:pt x="50507" y="39014"/>
                    <a:pt x="50507" y="39014"/>
                    <a:pt x="49555" y="39014"/>
                  </a:cubicBezTo>
                  <a:cubicBezTo>
                    <a:pt x="48603" y="39966"/>
                    <a:pt x="36228" y="44724"/>
                    <a:pt x="35277" y="45675"/>
                  </a:cubicBezTo>
                  <a:lnTo>
                    <a:pt x="34325" y="45675"/>
                  </a:lnTo>
                  <a:cubicBezTo>
                    <a:pt x="32421" y="45675"/>
                    <a:pt x="31469" y="46627"/>
                    <a:pt x="32421" y="47578"/>
                  </a:cubicBezTo>
                  <a:lnTo>
                    <a:pt x="30517" y="47578"/>
                  </a:lnTo>
                  <a:lnTo>
                    <a:pt x="30517" y="47578"/>
                  </a:lnTo>
                  <a:lnTo>
                    <a:pt x="28613" y="47578"/>
                  </a:lnTo>
                  <a:cubicBezTo>
                    <a:pt x="28613" y="47578"/>
                    <a:pt x="27661" y="46627"/>
                    <a:pt x="28613" y="46627"/>
                  </a:cubicBezTo>
                  <a:cubicBezTo>
                    <a:pt x="27661" y="47578"/>
                    <a:pt x="25758" y="47578"/>
                    <a:pt x="24806" y="47578"/>
                  </a:cubicBezTo>
                  <a:cubicBezTo>
                    <a:pt x="28613" y="48530"/>
                    <a:pt x="33373" y="48530"/>
                    <a:pt x="37180" y="49482"/>
                  </a:cubicBezTo>
                  <a:cubicBezTo>
                    <a:pt x="35277" y="50433"/>
                    <a:pt x="32421" y="49482"/>
                    <a:pt x="31469" y="50433"/>
                  </a:cubicBezTo>
                  <a:cubicBezTo>
                    <a:pt x="29565" y="49482"/>
                    <a:pt x="24806" y="49482"/>
                    <a:pt x="21950" y="49482"/>
                  </a:cubicBezTo>
                  <a:cubicBezTo>
                    <a:pt x="20998" y="49482"/>
                    <a:pt x="20998" y="51385"/>
                    <a:pt x="19094" y="50433"/>
                  </a:cubicBezTo>
                  <a:cubicBezTo>
                    <a:pt x="18142" y="49482"/>
                    <a:pt x="17191" y="50433"/>
                    <a:pt x="16239" y="50433"/>
                  </a:cubicBezTo>
                  <a:cubicBezTo>
                    <a:pt x="18142" y="49482"/>
                    <a:pt x="19094" y="49482"/>
                    <a:pt x="20998" y="49482"/>
                  </a:cubicBezTo>
                  <a:cubicBezTo>
                    <a:pt x="20998" y="48530"/>
                    <a:pt x="17191" y="48530"/>
                    <a:pt x="16239" y="48530"/>
                  </a:cubicBezTo>
                  <a:cubicBezTo>
                    <a:pt x="15287" y="48530"/>
                    <a:pt x="12431" y="48530"/>
                    <a:pt x="10527" y="49482"/>
                  </a:cubicBezTo>
                  <a:cubicBezTo>
                    <a:pt x="11479" y="48530"/>
                    <a:pt x="8623" y="48530"/>
                    <a:pt x="7672" y="48530"/>
                  </a:cubicBezTo>
                  <a:cubicBezTo>
                    <a:pt x="6720" y="48530"/>
                    <a:pt x="5768" y="49482"/>
                    <a:pt x="5768" y="49482"/>
                  </a:cubicBezTo>
                  <a:cubicBezTo>
                    <a:pt x="5768" y="50433"/>
                    <a:pt x="10527" y="49482"/>
                    <a:pt x="9575" y="51385"/>
                  </a:cubicBezTo>
                  <a:cubicBezTo>
                    <a:pt x="8623" y="50433"/>
                    <a:pt x="6720" y="51385"/>
                    <a:pt x="4816" y="51385"/>
                  </a:cubicBezTo>
                  <a:cubicBezTo>
                    <a:pt x="4816" y="52336"/>
                    <a:pt x="5768" y="52336"/>
                    <a:pt x="4816" y="52336"/>
                  </a:cubicBezTo>
                  <a:cubicBezTo>
                    <a:pt x="2912" y="52336"/>
                    <a:pt x="1960" y="53288"/>
                    <a:pt x="1008" y="52336"/>
                  </a:cubicBezTo>
                  <a:lnTo>
                    <a:pt x="1960" y="52336"/>
                  </a:lnTo>
                  <a:cubicBezTo>
                    <a:pt x="56" y="52336"/>
                    <a:pt x="12431" y="46627"/>
                    <a:pt x="9575" y="47578"/>
                  </a:cubicBezTo>
                  <a:cubicBezTo>
                    <a:pt x="10527" y="48530"/>
                    <a:pt x="-896" y="53288"/>
                    <a:pt x="56" y="52336"/>
                  </a:cubicBezTo>
                  <a:cubicBezTo>
                    <a:pt x="1008" y="52336"/>
                    <a:pt x="-896" y="53288"/>
                    <a:pt x="1008" y="54239"/>
                  </a:cubicBezTo>
                  <a:lnTo>
                    <a:pt x="1960" y="53288"/>
                  </a:lnTo>
                  <a:cubicBezTo>
                    <a:pt x="3864" y="53288"/>
                    <a:pt x="4816" y="54239"/>
                    <a:pt x="3864" y="55191"/>
                  </a:cubicBezTo>
                  <a:cubicBezTo>
                    <a:pt x="1008" y="55191"/>
                    <a:pt x="11479" y="49482"/>
                    <a:pt x="9575" y="50433"/>
                  </a:cubicBezTo>
                  <a:lnTo>
                    <a:pt x="10527" y="50433"/>
                  </a:lnTo>
                  <a:cubicBezTo>
                    <a:pt x="9575" y="51385"/>
                    <a:pt x="6720" y="51385"/>
                    <a:pt x="5768" y="51385"/>
                  </a:cubicBezTo>
                  <a:cubicBezTo>
                    <a:pt x="5768" y="52336"/>
                    <a:pt x="4816" y="52336"/>
                    <a:pt x="2912" y="53288"/>
                  </a:cubicBezTo>
                  <a:lnTo>
                    <a:pt x="2912" y="53288"/>
                  </a:lnTo>
                  <a:cubicBezTo>
                    <a:pt x="1960" y="53288"/>
                    <a:pt x="56" y="53288"/>
                    <a:pt x="1008" y="54239"/>
                  </a:cubicBezTo>
                  <a:cubicBezTo>
                    <a:pt x="7672" y="53288"/>
                    <a:pt x="-2799" y="61852"/>
                    <a:pt x="3864" y="61852"/>
                  </a:cubicBezTo>
                  <a:cubicBezTo>
                    <a:pt x="1008" y="60900"/>
                    <a:pt x="4816" y="59949"/>
                    <a:pt x="7672" y="59949"/>
                  </a:cubicBezTo>
                  <a:cubicBezTo>
                    <a:pt x="7672" y="60900"/>
                    <a:pt x="9575" y="60900"/>
                    <a:pt x="11479" y="61852"/>
                  </a:cubicBezTo>
                  <a:cubicBezTo>
                    <a:pt x="13383" y="61852"/>
                    <a:pt x="12431" y="60900"/>
                    <a:pt x="12431" y="60900"/>
                  </a:cubicBezTo>
                  <a:cubicBezTo>
                    <a:pt x="13383" y="60900"/>
                    <a:pt x="15287" y="60900"/>
                    <a:pt x="15287" y="61852"/>
                  </a:cubicBezTo>
                  <a:cubicBezTo>
                    <a:pt x="16239" y="60900"/>
                    <a:pt x="17191" y="61852"/>
                    <a:pt x="19094" y="61852"/>
                  </a:cubicBezTo>
                  <a:cubicBezTo>
                    <a:pt x="20998" y="60900"/>
                    <a:pt x="19094" y="61852"/>
                    <a:pt x="20046" y="60900"/>
                  </a:cubicBezTo>
                  <a:cubicBezTo>
                    <a:pt x="21950" y="60900"/>
                    <a:pt x="25758" y="60900"/>
                    <a:pt x="27661" y="60900"/>
                  </a:cubicBezTo>
                  <a:cubicBezTo>
                    <a:pt x="28613" y="61852"/>
                    <a:pt x="30517" y="62803"/>
                    <a:pt x="29565" y="63755"/>
                  </a:cubicBezTo>
                  <a:cubicBezTo>
                    <a:pt x="25758" y="63755"/>
                    <a:pt x="30517" y="61852"/>
                    <a:pt x="26709" y="61852"/>
                  </a:cubicBezTo>
                  <a:cubicBezTo>
                    <a:pt x="28613" y="63755"/>
                    <a:pt x="23854" y="62803"/>
                    <a:pt x="22902" y="63755"/>
                  </a:cubicBezTo>
                  <a:cubicBezTo>
                    <a:pt x="23854" y="64707"/>
                    <a:pt x="26709" y="63755"/>
                    <a:pt x="28613" y="63755"/>
                  </a:cubicBezTo>
                  <a:lnTo>
                    <a:pt x="28613" y="63755"/>
                  </a:lnTo>
                  <a:cubicBezTo>
                    <a:pt x="30517" y="63755"/>
                    <a:pt x="33373" y="62803"/>
                    <a:pt x="35277" y="63755"/>
                  </a:cubicBezTo>
                  <a:cubicBezTo>
                    <a:pt x="35277" y="64707"/>
                    <a:pt x="36228" y="64707"/>
                    <a:pt x="34325" y="64707"/>
                  </a:cubicBezTo>
                  <a:lnTo>
                    <a:pt x="37180" y="64707"/>
                  </a:lnTo>
                  <a:cubicBezTo>
                    <a:pt x="37180" y="64707"/>
                    <a:pt x="38132" y="64707"/>
                    <a:pt x="37180" y="63755"/>
                  </a:cubicBezTo>
                  <a:cubicBezTo>
                    <a:pt x="38132" y="62803"/>
                    <a:pt x="39084" y="63755"/>
                    <a:pt x="40036" y="63755"/>
                  </a:cubicBezTo>
                  <a:cubicBezTo>
                    <a:pt x="40036" y="64707"/>
                    <a:pt x="52411" y="58997"/>
                    <a:pt x="52411" y="59949"/>
                  </a:cubicBezTo>
                  <a:cubicBezTo>
                    <a:pt x="54315" y="59949"/>
                    <a:pt x="54315" y="60900"/>
                    <a:pt x="56218" y="59949"/>
                  </a:cubicBezTo>
                  <a:cubicBezTo>
                    <a:pt x="56218" y="58997"/>
                    <a:pt x="40036" y="63755"/>
                    <a:pt x="42892" y="63755"/>
                  </a:cubicBezTo>
                  <a:cubicBezTo>
                    <a:pt x="44796" y="64707"/>
                    <a:pt x="61930" y="58046"/>
                    <a:pt x="62882" y="58997"/>
                  </a:cubicBezTo>
                  <a:cubicBezTo>
                    <a:pt x="63834" y="58997"/>
                    <a:pt x="65737" y="58046"/>
                    <a:pt x="64785" y="58046"/>
                  </a:cubicBezTo>
                  <a:cubicBezTo>
                    <a:pt x="66689" y="58046"/>
                    <a:pt x="64785" y="58997"/>
                    <a:pt x="65737" y="59949"/>
                  </a:cubicBezTo>
                  <a:lnTo>
                    <a:pt x="65737" y="59949"/>
                  </a:lnTo>
                  <a:lnTo>
                    <a:pt x="67641" y="60900"/>
                  </a:lnTo>
                  <a:cubicBezTo>
                    <a:pt x="70497" y="58997"/>
                    <a:pt x="76208" y="59949"/>
                    <a:pt x="79064" y="58046"/>
                  </a:cubicBezTo>
                  <a:cubicBezTo>
                    <a:pt x="78112" y="58997"/>
                    <a:pt x="77160" y="59949"/>
                    <a:pt x="75256" y="60900"/>
                  </a:cubicBezTo>
                  <a:lnTo>
                    <a:pt x="75256" y="60900"/>
                  </a:lnTo>
                  <a:lnTo>
                    <a:pt x="73353" y="61852"/>
                  </a:lnTo>
                  <a:cubicBezTo>
                    <a:pt x="75256" y="61852"/>
                    <a:pt x="77160" y="61852"/>
                    <a:pt x="79064" y="60900"/>
                  </a:cubicBezTo>
                  <a:lnTo>
                    <a:pt x="80016" y="60900"/>
                  </a:lnTo>
                  <a:lnTo>
                    <a:pt x="80016" y="60900"/>
                  </a:lnTo>
                  <a:cubicBezTo>
                    <a:pt x="80968" y="60900"/>
                    <a:pt x="80968" y="60900"/>
                    <a:pt x="80968" y="61852"/>
                  </a:cubicBezTo>
                  <a:lnTo>
                    <a:pt x="80968" y="61852"/>
                  </a:lnTo>
                  <a:cubicBezTo>
                    <a:pt x="82872" y="63755"/>
                    <a:pt x="89535" y="58997"/>
                    <a:pt x="93342" y="59949"/>
                  </a:cubicBezTo>
                  <a:cubicBezTo>
                    <a:pt x="94294" y="59949"/>
                    <a:pt x="93342" y="59949"/>
                    <a:pt x="94294" y="58997"/>
                  </a:cubicBezTo>
                  <a:cubicBezTo>
                    <a:pt x="98102" y="58997"/>
                    <a:pt x="100958" y="58997"/>
                    <a:pt x="105717" y="58997"/>
                  </a:cubicBezTo>
                  <a:cubicBezTo>
                    <a:pt x="106669" y="58046"/>
                    <a:pt x="106669" y="58046"/>
                    <a:pt x="104765" y="57094"/>
                  </a:cubicBezTo>
                  <a:lnTo>
                    <a:pt x="107621" y="57094"/>
                  </a:lnTo>
                  <a:cubicBezTo>
                    <a:pt x="104765" y="59949"/>
                    <a:pt x="113332" y="58046"/>
                    <a:pt x="111429" y="60900"/>
                  </a:cubicBezTo>
                  <a:cubicBezTo>
                    <a:pt x="112380" y="60900"/>
                    <a:pt x="114284" y="60900"/>
                    <a:pt x="116188" y="60900"/>
                  </a:cubicBezTo>
                  <a:cubicBezTo>
                    <a:pt x="116188" y="59949"/>
                    <a:pt x="116188" y="58997"/>
                    <a:pt x="119044" y="58997"/>
                  </a:cubicBezTo>
                  <a:cubicBezTo>
                    <a:pt x="121899" y="58997"/>
                    <a:pt x="121899" y="58997"/>
                    <a:pt x="123803" y="58997"/>
                  </a:cubicBezTo>
                  <a:cubicBezTo>
                    <a:pt x="124755" y="59949"/>
                    <a:pt x="123803" y="59949"/>
                    <a:pt x="123803" y="60900"/>
                  </a:cubicBezTo>
                  <a:cubicBezTo>
                    <a:pt x="127611" y="58997"/>
                    <a:pt x="127611" y="61852"/>
                    <a:pt x="131418" y="60900"/>
                  </a:cubicBezTo>
                  <a:cubicBezTo>
                    <a:pt x="133322" y="59949"/>
                    <a:pt x="138082" y="59949"/>
                    <a:pt x="138082" y="58046"/>
                  </a:cubicBezTo>
                  <a:cubicBezTo>
                    <a:pt x="139034" y="57094"/>
                    <a:pt x="139034" y="58046"/>
                    <a:pt x="139034" y="58997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96052132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udendørs, bænk, sidder&#10;&#10;Automatisk genereret beskrivelse">
            <a:extLst>
              <a:ext uri="{FF2B5EF4-FFF2-40B4-BE49-F238E27FC236}">
                <a16:creationId xmlns:a16="http://schemas.microsoft.com/office/drawing/2014/main" id="{731A862E-C8E1-AF42-92F3-C4898253E1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9022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2) Indhold - billedekollage med 6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1831359"/>
            <a:ext cx="4646279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3611496" y="3990572"/>
            <a:ext cx="4794838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1831359"/>
            <a:ext cx="2822600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914400" y="3990572"/>
            <a:ext cx="2635624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8454999" y="3990572"/>
            <a:ext cx="2822600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E825661-551C-CB4A-BD64-F9F48E798F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2161DFB-9516-824E-931C-E348F1F9C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03917210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indendørs, person, barn, sidder&#10;&#10;Automatisk genereret beskrivelse">
            <a:extLst>
              <a:ext uri="{FF2B5EF4-FFF2-40B4-BE49-F238E27FC236}">
                <a16:creationId xmlns:a16="http://schemas.microsoft.com/office/drawing/2014/main" id="{7FC025C4-3C51-2A45-9719-DDD2CC92AC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2FB2E0C-BE4C-8B44-9153-E69F14E128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D64F0D3D-51BD-EB4A-AF54-E0CD9509F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7945126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araply, person, tilbehør, opbevarer&#10;&#10;Automatisk genereret beskrivelse">
            <a:extLst>
              <a:ext uri="{FF2B5EF4-FFF2-40B4-BE49-F238E27FC236}">
                <a16:creationId xmlns:a16="http://schemas.microsoft.com/office/drawing/2014/main" id="{D11B5318-5D51-FF46-AFA4-AA3E8E7B22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3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D436AAE-0CC0-2842-B97D-F213D08176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C518AE99-3537-9048-8647-3EEBD7036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6422175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græs, felt, får&#10;&#10;Automatisk genereret beskrivelse">
            <a:extLst>
              <a:ext uri="{FF2B5EF4-FFF2-40B4-BE49-F238E27FC236}">
                <a16:creationId xmlns:a16="http://schemas.microsoft.com/office/drawing/2014/main" id="{28037FDD-8966-5E47-91C2-1782A94194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CC8B7C6-4DC1-5C4E-B62C-454EEB2BB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8D615CE-0B75-DA4C-B19A-F75CC578C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13413655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udendørs, græs, bjerg, mad&#10;&#10;Automatisk genereret beskrivelse">
            <a:extLst>
              <a:ext uri="{FF2B5EF4-FFF2-40B4-BE49-F238E27FC236}">
                <a16:creationId xmlns:a16="http://schemas.microsoft.com/office/drawing/2014/main" id="{0EA045AA-3339-604F-8EB8-940992657D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E53EFFB-2725-DF45-91C3-4FEDAFF8E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071EF88-57BE-7A41-922C-F13269FBA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3767778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bygning, hegn, by&#10;&#10;Automatisk genereret beskrivelse">
            <a:extLst>
              <a:ext uri="{FF2B5EF4-FFF2-40B4-BE49-F238E27FC236}">
                <a16:creationId xmlns:a16="http://schemas.microsoft.com/office/drawing/2014/main" id="{9605DD56-4AD4-7B47-96A1-120C1DF65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BE94C62-970B-4746-BEEC-26579458ED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7D4BF381-4455-B540-8DC5-812DBB345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54122084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erson, udendørs, bygning, forbereder&#10;&#10;Automatisk genereret beskrivelse">
            <a:extLst>
              <a:ext uri="{FF2B5EF4-FFF2-40B4-BE49-F238E27FC236}">
                <a16:creationId xmlns:a16="http://schemas.microsoft.com/office/drawing/2014/main" id="{40209235-55F1-C34E-9B18-45E743DAE7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0AD2C0-AC1A-A542-B630-A0A9A232B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D545335C-C562-DA4D-AC43-5CCF4BE5D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05607814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indendørs, opbevarer, afspiller&#10;&#10;Automatisk genereret beskrivelse">
            <a:extLst>
              <a:ext uri="{FF2B5EF4-FFF2-40B4-BE49-F238E27FC236}">
                <a16:creationId xmlns:a16="http://schemas.microsoft.com/office/drawing/2014/main" id="{86A135C5-411F-3647-B5F8-69AF5E9E1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75245979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3" name="Picture 3" descr="D:\Opgaver\EDC Marts 2020\Powerpointskabelon\billeder\ppt_billede_det_handler_om_at_gøre_sig_umage_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6497183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 descr="D:\Opgaver\EDC Marts 2020\Powerpointskabelon\billeder\ppt_billede_drone_by_frederiksber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5299716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D:\Opgaver\EDC Marts 2020\Powerpointskabelon\billeder\ppt_billede_par_renover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68077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3) Indhold - billedekollage med 4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1831358"/>
            <a:ext cx="4646279" cy="400850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1831359"/>
            <a:ext cx="2822600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5609346" y="3990572"/>
            <a:ext cx="5668254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09ED05-355F-704F-8078-D8FBCB80CC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ADA6362-6032-7B48-806D-EE79E20F90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39546285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 descr="D:\Opgaver\EDC Marts 2020\Powerpointskabelon\billeder\ppt_billede_par_ud_af_vindu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199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8755516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D:\Opgaver\EDC Marts 2020\Powerpointskabelon\billeder\ppt_billede_kvinde_i_lejlighe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63302460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D:\Opgaver\EDC Marts 2020\Powerpointskabelon\billeder\ppt_billede_familie_i_sommerhu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3890419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D:\Opgaver\EDC Marts 2020\Powerpointskabelon\billeder\ppt_billede_sommerhus_hoet_gra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9344272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D:\Opgaver\EDC Marts 2020\Powerpointskabelon\billeder\ppt_billede_kvinde_i_lejlighed_med_t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9572636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D:\Opgaver\EDC Marts 2020\Powerpointskabelon\billeder\ppt_billede_mand_ruller_taeppe_u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5905549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3" name="Picture 3" descr="D:\Opgaver\EDC Marts 2020\Powerpointskabelon\billeder\ppt_billede_aeldre_par_mal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2421384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D:\Opgaver\EDC Marts 2020\Powerpointskabelon\billeder\ppt_billede_familie_paa_fremvisnin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200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61736011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1791118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913452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4) Indhold - venst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0800" y="2203444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0" y="467361"/>
            <a:ext cx="4876800" cy="15848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0800" y="2955926"/>
            <a:ext cx="4876800" cy="32010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7226904-5333-1643-A028-C32C08635B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7116"/>
            <a:ext cx="5450468" cy="667088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34210125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54649557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27812251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0"/>
            <a:ext cx="12185335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8899334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1"/>
            <a:ext cx="12185335" cy="68605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8193066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0" y="1"/>
            <a:ext cx="12185334" cy="68605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17086277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0" y="3174"/>
            <a:ext cx="12185334" cy="685425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13284019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3174"/>
            <a:ext cx="12185333" cy="685425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66660560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3174"/>
            <a:ext cx="12185333" cy="6854249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470415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Umage_1_video_1920x1080_7-3" descr="Umage_1_video_1920x1080_7-3">
            <a:hlinkClick r:id="" action="ppaction://media"/>
            <a:extLst>
              <a:ext uri="{FF2B5EF4-FFF2-40B4-BE49-F238E27FC236}">
                <a16:creationId xmlns:a16="http://schemas.microsoft.com/office/drawing/2014/main" id="{4AEF326F-0A5F-5A44-AF6E-474B08DBF0D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4048" y="1"/>
            <a:ext cx="12196048" cy="6871013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09491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Umage_1_video_1920x1080_7-4" descr="Umage_1_video_1920x1080_7-4">
            <a:hlinkClick r:id="" action="ppaction://media"/>
            <a:extLst>
              <a:ext uri="{FF2B5EF4-FFF2-40B4-BE49-F238E27FC236}">
                <a16:creationId xmlns:a16="http://schemas.microsoft.com/office/drawing/2014/main" id="{282CA72B-DAAA-2A47-B97A-964503CA2B5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297"/>
            <a:ext cx="12192000" cy="6868732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925299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5) Indhold - høj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756400" y="183586"/>
            <a:ext cx="5435600" cy="667441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4560" y="2203444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4560" y="467361"/>
            <a:ext cx="4876800" cy="15848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560" y="2955926"/>
            <a:ext cx="4876800" cy="32010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69249911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yt afs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926263D-15B6-7E46-9D7B-3581BB98A802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Til store sale</a:t>
            </a:r>
          </a:p>
        </p:txBody>
      </p:sp>
    </p:spTree>
    <p:extLst>
      <p:ext uri="{BB962C8B-B14F-4D97-AF65-F5344CB8AC3E}">
        <p14:creationId xmlns:p14="http://schemas.microsoft.com/office/powerpoint/2010/main" val="135527625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) Forside - Intro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934" y="984664"/>
            <a:ext cx="1894132" cy="1877822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2884CE6-2E01-4949-BAD6-196A401BB8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5611154"/>
            <a:ext cx="10363200" cy="411274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tit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D9EFE38-74B0-2C43-8B3B-DBBFECFD8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4035527"/>
            <a:ext cx="10363200" cy="1470524"/>
          </a:xfrm>
        </p:spPr>
        <p:txBody>
          <a:bodyPr/>
          <a:lstStyle>
            <a:lvl1pPr>
              <a:defRPr sz="48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150EF21-A222-474E-9F0D-36BD39F2EB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3554954"/>
            <a:ext cx="10369550" cy="417513"/>
          </a:xfrm>
        </p:spPr>
        <p:txBody>
          <a:bodyPr/>
          <a:lstStyle>
            <a:lvl1pPr marL="0" indent="0" algn="ctr">
              <a:buNone/>
              <a:defRPr sz="3600" spc="300">
                <a:solidFill>
                  <a:srgbClr val="FEC315"/>
                </a:solidFill>
                <a:latin typeface="Manus" pitchFamily="2" charset="77"/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  <a:lvl4pPr marL="1371635" indent="0">
              <a:buNone/>
              <a:defRPr/>
            </a:lvl4pPr>
            <a:lvl5pPr marL="1828847" indent="0">
              <a:buNone/>
              <a:defRPr/>
            </a:lvl5pPr>
          </a:lstStyle>
          <a:p>
            <a:pPr lvl="0"/>
            <a:r>
              <a:rPr lang="da-DK"/>
              <a:t>Klik for at redigere dato</a:t>
            </a:r>
          </a:p>
        </p:txBody>
      </p:sp>
    </p:spTree>
    <p:extLst>
      <p:ext uri="{BB962C8B-B14F-4D97-AF65-F5344CB8AC3E}">
        <p14:creationId xmlns:p14="http://schemas.microsoft.com/office/powerpoint/2010/main" val="40050310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656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2120348"/>
            <a:ext cx="10363200" cy="393755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347671414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2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7466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B11F932-EEFF-0F42-A8FD-A7B6C194B9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20B5FF7-064E-A440-964E-203F0CBC0C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83540075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3) Indhold - Centreret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13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3598548"/>
            <a:ext cx="10363200" cy="1579381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30708"/>
            <a:ext cx="10363200" cy="24184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38147172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4) Indhold - Tekst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37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1" y="2090522"/>
            <a:ext cx="4929809" cy="396737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5" name="Pladsholder til tabel 4">
            <a:extLst>
              <a:ext uri="{FF2B5EF4-FFF2-40B4-BE49-F238E27FC236}">
                <a16:creationId xmlns:a16="http://schemas.microsoft.com/office/drawing/2014/main" id="{2EA14440-FD86-A745-9F55-041D16E11DC7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6096000" y="2090522"/>
            <a:ext cx="5181600" cy="3967379"/>
          </a:xfrm>
          <a:solidFill>
            <a:schemeClr val="bg2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0" tIns="360000" rIns="360000" bIns="36000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da-DK"/>
              <a:t>Klik på ikonet for at tilføje en tab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D3F494E-CD8F-B44A-B895-7802E7D87C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61361C2-35D9-DC40-ADAE-BE32D61966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65731432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5) Indhold - Et emn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142082" y="477952"/>
            <a:ext cx="3907836" cy="295104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5023692"/>
            <a:ext cx="10363200" cy="1024569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3564836"/>
            <a:ext cx="10363200" cy="130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65722965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6) Indhold - To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2164016" y="1996219"/>
            <a:ext cx="3627184" cy="2213113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2164016" y="4315350"/>
            <a:ext cx="3627184" cy="52913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2164016" y="4993802"/>
            <a:ext cx="3627184" cy="1059239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400800" y="2001079"/>
            <a:ext cx="3627184" cy="2213113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00800" y="4315350"/>
            <a:ext cx="3627184" cy="53399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00800" y="4998662"/>
            <a:ext cx="3627184" cy="1059239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DCA192D-13F0-8B44-B645-43979F69C2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CBFA1C1-882E-5645-99C0-3185EC1854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1327152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7) Indhold - T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E3B89B6-A024-B84B-A5B9-26E24133BBD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01148" y="199621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6" name="Pladsholder til tekst 3">
            <a:extLst>
              <a:ext uri="{FF2B5EF4-FFF2-40B4-BE49-F238E27FC236}">
                <a16:creationId xmlns:a16="http://schemas.microsoft.com/office/drawing/2014/main" id="{882D2D26-0C67-134D-B9A4-B8005DA09D6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148" y="4315349"/>
            <a:ext cx="3330208" cy="535467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07DDBD85-7D34-6D4E-839C-CC15FC2869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1148" y="499380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FCC4041F-0124-C541-AFC8-AE62A127F40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417644" y="200107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7" name="Pladsholder til tekst 3">
            <a:extLst>
              <a:ext uri="{FF2B5EF4-FFF2-40B4-BE49-F238E27FC236}">
                <a16:creationId xmlns:a16="http://schemas.microsoft.com/office/drawing/2014/main" id="{7B52DD36-DC98-3D47-A0C3-A9425FAE7D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17644" y="4315349"/>
            <a:ext cx="333020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8" name="Pladsholder til tekst 3">
            <a:extLst>
              <a:ext uri="{FF2B5EF4-FFF2-40B4-BE49-F238E27FC236}">
                <a16:creationId xmlns:a16="http://schemas.microsoft.com/office/drawing/2014/main" id="{8501AE1F-28E2-7F4A-8DB5-7A5850E2F8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17644" y="499866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B62EDF71-561A-6A44-BCF5-2D09A169B936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7934140" y="200107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0" name="Pladsholder til tekst 3">
            <a:extLst>
              <a:ext uri="{FF2B5EF4-FFF2-40B4-BE49-F238E27FC236}">
                <a16:creationId xmlns:a16="http://schemas.microsoft.com/office/drawing/2014/main" id="{D63F48F0-EB0A-1B43-95C7-3DC5C8F084A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34140" y="4315349"/>
            <a:ext cx="333020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E901EA20-D2D6-1847-BAEE-155DAFB627D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934140" y="499866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224E5EFD-6BAF-C446-8E69-8A63CE6F13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4C9323F9-7A7F-EA45-A263-1F23E4157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81300781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8) Indhold - Fi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E7B02512-77B6-3E4D-A7FE-46004AAB3DD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01148" y="199621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3030EC21-C95B-AA41-BCB4-09DF2642AA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148" y="4315349"/>
            <a:ext cx="2514958" cy="535467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18" name="Pladsholder til tekst 3">
            <a:extLst>
              <a:ext uri="{FF2B5EF4-FFF2-40B4-BE49-F238E27FC236}">
                <a16:creationId xmlns:a16="http://schemas.microsoft.com/office/drawing/2014/main" id="{AF32A35C-97F0-EF40-A200-C2393DDA49F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1148" y="499380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E47EE4D6-54EE-6B4D-94BC-576A41578E7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519870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0" name="Pladsholder til tekst 3">
            <a:extLst>
              <a:ext uri="{FF2B5EF4-FFF2-40B4-BE49-F238E27FC236}">
                <a16:creationId xmlns:a16="http://schemas.microsoft.com/office/drawing/2014/main" id="{FC54151C-9BD2-9441-B192-9C92CA68A4D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19870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1" name="Pladsholder til tekst 3">
            <a:extLst>
              <a:ext uri="{FF2B5EF4-FFF2-40B4-BE49-F238E27FC236}">
                <a16:creationId xmlns:a16="http://schemas.microsoft.com/office/drawing/2014/main" id="{0B9E6C6A-AE43-0C41-855D-6826155AE3D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19870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914B9948-AB67-514F-A195-A8D1BA9309C1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137566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74ECA657-6A3A-1543-92C3-C61349168AA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37566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6" name="Pladsholder til tekst 3">
            <a:extLst>
              <a:ext uri="{FF2B5EF4-FFF2-40B4-BE49-F238E27FC236}">
                <a16:creationId xmlns:a16="http://schemas.microsoft.com/office/drawing/2014/main" id="{5C9C9D67-6C46-924B-AF1B-E5B807F7146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7566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FBB4852E-96B9-3E44-86C7-1D0B200D11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CAFE22BC-7CFF-8048-8841-439F660FF1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0C59EBB3-3967-8946-9F8B-14CDF2AC3A6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763574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0" name="Pladsholder til tekst 3">
            <a:extLst>
              <a:ext uri="{FF2B5EF4-FFF2-40B4-BE49-F238E27FC236}">
                <a16:creationId xmlns:a16="http://schemas.microsoft.com/office/drawing/2014/main" id="{77BB1D31-72DA-2342-B1B2-2962322C16C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63574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8B92E519-CB80-BC42-9A99-69D17D0546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63574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41723015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6) Indhold - top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3587"/>
            <a:ext cx="12192000" cy="365074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74109B2-14F7-8C45-B436-1D932F43BA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20DAE04-02FA-FA4E-80B1-DEACAA8CA1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660E2045-251E-0C48-95E3-D254032436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4419600"/>
            <a:ext cx="9076800" cy="18389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420710661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9) Indhold - venst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43717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0973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973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80472867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0) Indhold - høj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626600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342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0342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86705942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1) Indhold - billedekollag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1" y="2019996"/>
            <a:ext cx="2796988" cy="389468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772861" y="2019996"/>
            <a:ext cx="2796988" cy="199673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631321" y="2019996"/>
            <a:ext cx="4646279" cy="199673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631321" y="4089863"/>
            <a:ext cx="4646279" cy="182482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779737" y="4089862"/>
            <a:ext cx="2796988" cy="18269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04F7A2D-1D60-924D-8691-343C17E54B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81798" y="4304061"/>
            <a:ext cx="2195929" cy="1426183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34353D1-F63C-274C-A2AA-4931139C8A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197B0DB-59BC-5C4E-A85E-E3E4C17531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86011268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2) Indhold - billedekollage med 6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2030864"/>
            <a:ext cx="2796988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2030864"/>
            <a:ext cx="4646279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3611496" y="4098637"/>
            <a:ext cx="4794838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2030864"/>
            <a:ext cx="2822600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914400" y="4098637"/>
            <a:ext cx="2635624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8454999" y="4098637"/>
            <a:ext cx="2822600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433FED9-97B9-584F-A6D1-ED3735AFE1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4EC77A8-1058-604D-AA07-79EB3B6DF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55991847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3) Indhold - billedekollage med 4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2036620"/>
            <a:ext cx="2796988" cy="203829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2036621"/>
            <a:ext cx="4646279" cy="39362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2036620"/>
            <a:ext cx="2822600" cy="203829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5609346" y="4139739"/>
            <a:ext cx="5668254" cy="183313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1244420-0C1D-A54B-9BEA-A64234EE0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66A353E-08D4-944F-B5D4-CA3495E1A8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7997193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4) Indhold - venst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0800" y="2801961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0" y="507079"/>
            <a:ext cx="4876800" cy="2143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0800" y="3715792"/>
            <a:ext cx="4876800" cy="24439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7226904-5333-1643-A028-C32C08635B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7116"/>
            <a:ext cx="5450468" cy="667088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98349356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5) Indhold - høj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756400" y="183586"/>
            <a:ext cx="5435600" cy="667441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03205F-5AF1-8C44-8C5D-FA8E93654D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4560" y="2801961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2C7903EA-DB60-B04D-98D6-FBA25BBCDE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560" y="3715792"/>
            <a:ext cx="4876800" cy="24439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54F9CDD-2960-D043-9561-8FBD8B17D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4560" y="507079"/>
            <a:ext cx="4876800" cy="2143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98157541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0) Nyt afsnit - Mellemslide (indsæt 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BCF49B0B-A67E-0347-B3E2-E981321E0A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80" y="0"/>
            <a:ext cx="12193879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18 w 12192018"/>
              <a:gd name="connsiteY0" fmla="*/ 0 h 6858000"/>
              <a:gd name="connsiteX1" fmla="*/ 12192018 w 12192018"/>
              <a:gd name="connsiteY1" fmla="*/ 0 h 6858000"/>
              <a:gd name="connsiteX2" fmla="*/ 12192018 w 12192018"/>
              <a:gd name="connsiteY2" fmla="*/ 6858000 h 6858000"/>
              <a:gd name="connsiteX3" fmla="*/ 18 w 12192018"/>
              <a:gd name="connsiteY3" fmla="*/ 6858000 h 6858000"/>
              <a:gd name="connsiteX4" fmla="*/ 2377458 w 12192018"/>
              <a:gd name="connsiteY4" fmla="*/ 2971800 h 6858000"/>
              <a:gd name="connsiteX5" fmla="*/ 18 w 12192018"/>
              <a:gd name="connsiteY5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3115657 w 12930217"/>
              <a:gd name="connsiteY5" fmla="*/ 2971800 h 6858000"/>
              <a:gd name="connsiteX6" fmla="*/ 738217 w 12930217"/>
              <a:gd name="connsiteY6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3115657 w 12930217"/>
              <a:gd name="connsiteY6" fmla="*/ 2971800 h 6858000"/>
              <a:gd name="connsiteX7" fmla="*/ 738217 w 12930217"/>
              <a:gd name="connsiteY7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849833 w 13041833"/>
              <a:gd name="connsiteY0" fmla="*/ 0 h 6858000"/>
              <a:gd name="connsiteX1" fmla="*/ 13041833 w 13041833"/>
              <a:gd name="connsiteY1" fmla="*/ 0 h 6858000"/>
              <a:gd name="connsiteX2" fmla="*/ 13041833 w 13041833"/>
              <a:gd name="connsiteY2" fmla="*/ 6858000 h 6858000"/>
              <a:gd name="connsiteX3" fmla="*/ 849833 w 13041833"/>
              <a:gd name="connsiteY3" fmla="*/ 6858000 h 6858000"/>
              <a:gd name="connsiteX4" fmla="*/ 1307033 w 13041833"/>
              <a:gd name="connsiteY4" fmla="*/ 5829300 h 6858000"/>
              <a:gd name="connsiteX5" fmla="*/ 7067754 w 13041833"/>
              <a:gd name="connsiteY5" fmla="*/ 5772150 h 6858000"/>
              <a:gd name="connsiteX6" fmla="*/ 8096454 w 13041833"/>
              <a:gd name="connsiteY6" fmla="*/ 3086100 h 6858000"/>
              <a:gd name="connsiteX7" fmla="*/ 861263 w 13041833"/>
              <a:gd name="connsiteY7" fmla="*/ 3086100 h 6858000"/>
              <a:gd name="connsiteX8" fmla="*/ 849833 w 13041833"/>
              <a:gd name="connsiteY8" fmla="*/ 0 h 6858000"/>
              <a:gd name="connsiteX0" fmla="*/ 796095 w 12988095"/>
              <a:gd name="connsiteY0" fmla="*/ 0 h 6858000"/>
              <a:gd name="connsiteX1" fmla="*/ 12988095 w 12988095"/>
              <a:gd name="connsiteY1" fmla="*/ 0 h 6858000"/>
              <a:gd name="connsiteX2" fmla="*/ 12988095 w 12988095"/>
              <a:gd name="connsiteY2" fmla="*/ 6858000 h 6858000"/>
              <a:gd name="connsiteX3" fmla="*/ 796095 w 12988095"/>
              <a:gd name="connsiteY3" fmla="*/ 6858000 h 6858000"/>
              <a:gd name="connsiteX4" fmla="*/ 1253295 w 12988095"/>
              <a:gd name="connsiteY4" fmla="*/ 5829300 h 6858000"/>
              <a:gd name="connsiteX5" fmla="*/ 7014016 w 12988095"/>
              <a:gd name="connsiteY5" fmla="*/ 5772150 h 6858000"/>
              <a:gd name="connsiteX6" fmla="*/ 8042716 w 12988095"/>
              <a:gd name="connsiteY6" fmla="*/ 3086100 h 6858000"/>
              <a:gd name="connsiteX7" fmla="*/ 807525 w 12988095"/>
              <a:gd name="connsiteY7" fmla="*/ 3086100 h 6858000"/>
              <a:gd name="connsiteX8" fmla="*/ 796095 w 12988095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457200 w 12192000"/>
              <a:gd name="connsiteY4" fmla="*/ 582930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45732 w 12237732"/>
              <a:gd name="connsiteY0" fmla="*/ 0 h 6858000"/>
              <a:gd name="connsiteX1" fmla="*/ 12237732 w 12237732"/>
              <a:gd name="connsiteY1" fmla="*/ 0 h 6858000"/>
              <a:gd name="connsiteX2" fmla="*/ 12237732 w 12237732"/>
              <a:gd name="connsiteY2" fmla="*/ 6858000 h 6858000"/>
              <a:gd name="connsiteX3" fmla="*/ 45732 w 12237732"/>
              <a:gd name="connsiteY3" fmla="*/ 6858000 h 6858000"/>
              <a:gd name="connsiteX4" fmla="*/ 57162 w 12237732"/>
              <a:gd name="connsiteY4" fmla="*/ 5806440 h 6858000"/>
              <a:gd name="connsiteX5" fmla="*/ 6263653 w 12237732"/>
              <a:gd name="connsiteY5" fmla="*/ 5772150 h 6858000"/>
              <a:gd name="connsiteX6" fmla="*/ 7292353 w 12237732"/>
              <a:gd name="connsiteY6" fmla="*/ 3086100 h 6858000"/>
              <a:gd name="connsiteX7" fmla="*/ 57162 w 12237732"/>
              <a:gd name="connsiteY7" fmla="*/ 3086100 h 6858000"/>
              <a:gd name="connsiteX8" fmla="*/ 45732 w 12237732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12700 w 12193270"/>
              <a:gd name="connsiteY4" fmla="*/ 580644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6350 w 12193270"/>
              <a:gd name="connsiteY4" fmla="*/ 582549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1914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3879" h="6858000">
                <a:moveTo>
                  <a:pt x="1879" y="0"/>
                </a:moveTo>
                <a:lnTo>
                  <a:pt x="12193879" y="0"/>
                </a:lnTo>
                <a:lnTo>
                  <a:pt x="12193879" y="6858000"/>
                </a:lnTo>
                <a:lnTo>
                  <a:pt x="1879" y="6858000"/>
                </a:lnTo>
                <a:cubicBezTo>
                  <a:pt x="2514" y="6059805"/>
                  <a:pt x="-3836" y="6492875"/>
                  <a:pt x="3784" y="5822315"/>
                </a:cubicBezTo>
                <a:lnTo>
                  <a:pt x="7247865" y="5819140"/>
                </a:lnTo>
                <a:cubicBezTo>
                  <a:pt x="7250405" y="4772660"/>
                  <a:pt x="7247230" y="4008755"/>
                  <a:pt x="7251675" y="3089275"/>
                </a:cubicBezTo>
                <a:lnTo>
                  <a:pt x="609" y="3092450"/>
                </a:lnTo>
                <a:cubicBezTo>
                  <a:pt x="1032" y="2061633"/>
                  <a:pt x="1456" y="1030817"/>
                  <a:pt x="1879" y="0"/>
                </a:cubicBezTo>
                <a:close/>
              </a:path>
            </a:pathLst>
          </a:custGeom>
          <a:noFill/>
          <a:effectLst/>
        </p:spPr>
        <p:txBody>
          <a:bodyPr tIns="1692000"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800" b="0" baseline="0">
                <a:latin typeface="+mj-lt"/>
              </a:defRPr>
            </a:lvl1pPr>
          </a:lstStyle>
          <a:p>
            <a:r>
              <a:rPr lang="en-US" err="1"/>
              <a:t>Indsæt</a:t>
            </a:r>
            <a:r>
              <a:rPr lang="en-US"/>
              <a:t> </a:t>
            </a:r>
            <a:r>
              <a:rPr lang="en-US" err="1"/>
              <a:t>billiede</a:t>
            </a:r>
            <a:r>
              <a:rPr lang="en-US"/>
              <a:t>, </a:t>
            </a:r>
            <a:r>
              <a:rPr lang="en-US" err="1"/>
              <a:t>klik</a:t>
            </a:r>
            <a:r>
              <a:rPr lang="en-US"/>
              <a:t> her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6A1B4D00-31DD-DC4B-AFF0-EF1A65F4B3C9}"/>
              </a:ext>
            </a:extLst>
          </p:cNvPr>
          <p:cNvGrpSpPr/>
          <p:nvPr userDrawn="1"/>
        </p:nvGrpSpPr>
        <p:grpSpPr>
          <a:xfrm rot="17162911" flipH="1">
            <a:off x="6421968" y="2335518"/>
            <a:ext cx="837630" cy="491500"/>
            <a:chOff x="3807407" y="1614978"/>
            <a:chExt cx="750355" cy="334433"/>
          </a:xfrm>
        </p:grpSpPr>
        <p:sp>
          <p:nvSpPr>
            <p:cNvPr id="11" name="Kombinationstegning 10">
              <a:extLst>
                <a:ext uri="{FF2B5EF4-FFF2-40B4-BE49-F238E27FC236}">
                  <a16:creationId xmlns:a16="http://schemas.microsoft.com/office/drawing/2014/main" id="{8133E8D6-A266-494A-9802-FFC988866083}"/>
                </a:ext>
              </a:extLst>
            </p:cNvPr>
            <p:cNvSpPr/>
            <p:nvPr/>
          </p:nvSpPr>
          <p:spPr>
            <a:xfrm>
              <a:off x="3807407" y="1651138"/>
              <a:ext cx="674427" cy="298273"/>
            </a:xfrm>
            <a:custGeom>
              <a:avLst/>
              <a:gdLst>
                <a:gd name="connsiteX0" fmla="*/ 161131 w 674427"/>
                <a:gd name="connsiteY0" fmla="*/ 238844 h 298273"/>
                <a:gd name="connsiteX1" fmla="*/ 163986 w 674427"/>
                <a:gd name="connsiteY1" fmla="*/ 237892 h 298273"/>
                <a:gd name="connsiteX2" fmla="*/ 136381 w 674427"/>
                <a:gd name="connsiteY2" fmla="*/ 250263 h 298273"/>
                <a:gd name="connsiteX3" fmla="*/ 194447 w 674427"/>
                <a:gd name="connsiteY3" fmla="*/ 220764 h 298273"/>
                <a:gd name="connsiteX4" fmla="*/ 218245 w 674427"/>
                <a:gd name="connsiteY4" fmla="*/ 216006 h 298273"/>
                <a:gd name="connsiteX5" fmla="*/ 229667 w 674427"/>
                <a:gd name="connsiteY5" fmla="*/ 208394 h 298273"/>
                <a:gd name="connsiteX6" fmla="*/ 222052 w 674427"/>
                <a:gd name="connsiteY6" fmla="*/ 213152 h 298273"/>
                <a:gd name="connsiteX7" fmla="*/ 229667 w 674427"/>
                <a:gd name="connsiteY7" fmla="*/ 208394 h 298273"/>
                <a:gd name="connsiteX8" fmla="*/ 313435 w 674427"/>
                <a:gd name="connsiteY8" fmla="*/ 169379 h 298273"/>
                <a:gd name="connsiteX9" fmla="*/ 392442 w 674427"/>
                <a:gd name="connsiteY9" fmla="*/ 137978 h 298273"/>
                <a:gd name="connsiteX10" fmla="*/ 400057 w 674427"/>
                <a:gd name="connsiteY10" fmla="*/ 135123 h 298273"/>
                <a:gd name="connsiteX11" fmla="*/ 391490 w 674427"/>
                <a:gd name="connsiteY11" fmla="*/ 137978 h 298273"/>
                <a:gd name="connsiteX12" fmla="*/ 418144 w 674427"/>
                <a:gd name="connsiteY12" fmla="*/ 121801 h 298273"/>
                <a:gd name="connsiteX13" fmla="*/ 411480 w 674427"/>
                <a:gd name="connsiteY13" fmla="*/ 121801 h 298273"/>
                <a:gd name="connsiteX14" fmla="*/ 416240 w 674427"/>
                <a:gd name="connsiteY14" fmla="*/ 119898 h 298273"/>
                <a:gd name="connsiteX15" fmla="*/ 433374 w 674427"/>
                <a:gd name="connsiteY15" fmla="*/ 109430 h 298273"/>
                <a:gd name="connsiteX16" fmla="*/ 440037 w 674427"/>
                <a:gd name="connsiteY16" fmla="*/ 108479 h 298273"/>
                <a:gd name="connsiteX17" fmla="*/ 438133 w 674427"/>
                <a:gd name="connsiteY17" fmla="*/ 108479 h 298273"/>
                <a:gd name="connsiteX18" fmla="*/ 474306 w 674427"/>
                <a:gd name="connsiteY18" fmla="*/ 92302 h 298273"/>
                <a:gd name="connsiteX19" fmla="*/ 478113 w 674427"/>
                <a:gd name="connsiteY19" fmla="*/ 91351 h 298273"/>
                <a:gd name="connsiteX20" fmla="*/ 488584 w 674427"/>
                <a:gd name="connsiteY20" fmla="*/ 86593 h 298273"/>
                <a:gd name="connsiteX21" fmla="*/ 493344 w 674427"/>
                <a:gd name="connsiteY21" fmla="*/ 87544 h 298273"/>
                <a:gd name="connsiteX22" fmla="*/ 515237 w 674427"/>
                <a:gd name="connsiteY22" fmla="*/ 76126 h 298273"/>
                <a:gd name="connsiteX23" fmla="*/ 555217 w 674427"/>
                <a:gd name="connsiteY23" fmla="*/ 58997 h 298273"/>
                <a:gd name="connsiteX24" fmla="*/ 596149 w 674427"/>
                <a:gd name="connsiteY24" fmla="*/ 40917 h 298273"/>
                <a:gd name="connsiteX25" fmla="*/ 595197 w 674427"/>
                <a:gd name="connsiteY25" fmla="*/ 40917 h 298273"/>
                <a:gd name="connsiteX26" fmla="*/ 624706 w 674427"/>
                <a:gd name="connsiteY26" fmla="*/ 27596 h 298273"/>
                <a:gd name="connsiteX27" fmla="*/ 646599 w 674427"/>
                <a:gd name="connsiteY27" fmla="*/ 14274 h 298273"/>
                <a:gd name="connsiteX28" fmla="*/ 669445 w 674427"/>
                <a:gd name="connsiteY28" fmla="*/ 4758 h 298273"/>
                <a:gd name="connsiteX29" fmla="*/ 673253 w 674427"/>
                <a:gd name="connsiteY29" fmla="*/ 0 h 298273"/>
                <a:gd name="connsiteX30" fmla="*/ 659926 w 674427"/>
                <a:gd name="connsiteY30" fmla="*/ 1903 h 298273"/>
                <a:gd name="connsiteX31" fmla="*/ 659926 w 674427"/>
                <a:gd name="connsiteY31" fmla="*/ 1903 h 298273"/>
                <a:gd name="connsiteX32" fmla="*/ 581870 w 674427"/>
                <a:gd name="connsiteY32" fmla="*/ 23789 h 298273"/>
                <a:gd name="connsiteX33" fmla="*/ 528564 w 674427"/>
                <a:gd name="connsiteY33" fmla="*/ 44724 h 298273"/>
                <a:gd name="connsiteX34" fmla="*/ 474306 w 674427"/>
                <a:gd name="connsiteY34" fmla="*/ 69465 h 298273"/>
                <a:gd name="connsiteX35" fmla="*/ 463835 w 674427"/>
                <a:gd name="connsiteY35" fmla="*/ 72319 h 298273"/>
                <a:gd name="connsiteX36" fmla="*/ 414336 w 674427"/>
                <a:gd name="connsiteY36" fmla="*/ 94205 h 298273"/>
                <a:gd name="connsiteX37" fmla="*/ 415288 w 674427"/>
                <a:gd name="connsiteY37" fmla="*/ 94205 h 298273"/>
                <a:gd name="connsiteX38" fmla="*/ 390538 w 674427"/>
                <a:gd name="connsiteY38" fmla="*/ 103721 h 298273"/>
                <a:gd name="connsiteX39" fmla="*/ 388635 w 674427"/>
                <a:gd name="connsiteY39" fmla="*/ 105624 h 298273"/>
                <a:gd name="connsiteX40" fmla="*/ 336280 w 674427"/>
                <a:gd name="connsiteY40" fmla="*/ 132268 h 298273"/>
                <a:gd name="connsiteX41" fmla="*/ 333424 w 674427"/>
                <a:gd name="connsiteY41" fmla="*/ 134171 h 298273"/>
                <a:gd name="connsiteX42" fmla="*/ 280118 w 674427"/>
                <a:gd name="connsiteY42" fmla="*/ 154154 h 298273"/>
                <a:gd name="connsiteX43" fmla="*/ 271551 w 674427"/>
                <a:gd name="connsiteY43" fmla="*/ 161767 h 298273"/>
                <a:gd name="connsiteX44" fmla="*/ 264888 w 674427"/>
                <a:gd name="connsiteY44" fmla="*/ 165573 h 298273"/>
                <a:gd name="connsiteX45" fmla="*/ 255369 w 674427"/>
                <a:gd name="connsiteY45" fmla="*/ 169379 h 298273"/>
                <a:gd name="connsiteX46" fmla="*/ 235379 w 674427"/>
                <a:gd name="connsiteY46" fmla="*/ 178895 h 298273"/>
                <a:gd name="connsiteX47" fmla="*/ 227764 w 674427"/>
                <a:gd name="connsiteY47" fmla="*/ 183653 h 298273"/>
                <a:gd name="connsiteX48" fmla="*/ 222052 w 674427"/>
                <a:gd name="connsiteY48" fmla="*/ 184604 h 298273"/>
                <a:gd name="connsiteX49" fmla="*/ 210629 w 674427"/>
                <a:gd name="connsiteY49" fmla="*/ 189362 h 298273"/>
                <a:gd name="connsiteX50" fmla="*/ 193495 w 674427"/>
                <a:gd name="connsiteY50" fmla="*/ 199829 h 298273"/>
                <a:gd name="connsiteX51" fmla="*/ 194447 w 674427"/>
                <a:gd name="connsiteY51" fmla="*/ 198878 h 298273"/>
                <a:gd name="connsiteX52" fmla="*/ 173505 w 674427"/>
                <a:gd name="connsiteY52" fmla="*/ 205539 h 298273"/>
                <a:gd name="connsiteX53" fmla="*/ 112584 w 674427"/>
                <a:gd name="connsiteY53" fmla="*/ 235038 h 298273"/>
                <a:gd name="connsiteX54" fmla="*/ 117343 w 674427"/>
                <a:gd name="connsiteY54" fmla="*/ 234086 h 298273"/>
                <a:gd name="connsiteX55" fmla="*/ 83075 w 674427"/>
                <a:gd name="connsiteY55" fmla="*/ 248360 h 298273"/>
                <a:gd name="connsiteX56" fmla="*/ 77363 w 674427"/>
                <a:gd name="connsiteY56" fmla="*/ 249311 h 298273"/>
                <a:gd name="connsiteX57" fmla="*/ 72604 w 674427"/>
                <a:gd name="connsiteY57" fmla="*/ 252166 h 298273"/>
                <a:gd name="connsiteX58" fmla="*/ 71652 w 674427"/>
                <a:gd name="connsiteY58" fmla="*/ 251214 h 298273"/>
                <a:gd name="connsiteX59" fmla="*/ 62133 w 674427"/>
                <a:gd name="connsiteY59" fmla="*/ 255021 h 298273"/>
                <a:gd name="connsiteX60" fmla="*/ 59277 w 674427"/>
                <a:gd name="connsiteY60" fmla="*/ 256924 h 298273"/>
                <a:gd name="connsiteX61" fmla="*/ 55470 w 674427"/>
                <a:gd name="connsiteY61" fmla="*/ 257875 h 298273"/>
                <a:gd name="connsiteX62" fmla="*/ 55470 w 674427"/>
                <a:gd name="connsiteY62" fmla="*/ 257875 h 298273"/>
                <a:gd name="connsiteX63" fmla="*/ 53566 w 674427"/>
                <a:gd name="connsiteY63" fmla="*/ 258827 h 298273"/>
                <a:gd name="connsiteX64" fmla="*/ 39287 w 674427"/>
                <a:gd name="connsiteY64" fmla="*/ 271197 h 298273"/>
                <a:gd name="connsiteX65" fmla="*/ 38335 w 674427"/>
                <a:gd name="connsiteY65" fmla="*/ 271197 h 298273"/>
                <a:gd name="connsiteX66" fmla="*/ 37384 w 674427"/>
                <a:gd name="connsiteY66" fmla="*/ 273100 h 298273"/>
                <a:gd name="connsiteX67" fmla="*/ 34528 w 674427"/>
                <a:gd name="connsiteY67" fmla="*/ 274052 h 298273"/>
                <a:gd name="connsiteX68" fmla="*/ 34528 w 674427"/>
                <a:gd name="connsiteY68" fmla="*/ 274052 h 298273"/>
                <a:gd name="connsiteX69" fmla="*/ 31672 w 674427"/>
                <a:gd name="connsiteY69" fmla="*/ 275004 h 298273"/>
                <a:gd name="connsiteX70" fmla="*/ 30720 w 674427"/>
                <a:gd name="connsiteY70" fmla="*/ 274052 h 298273"/>
                <a:gd name="connsiteX71" fmla="*/ 26913 w 674427"/>
                <a:gd name="connsiteY71" fmla="*/ 276907 h 298273"/>
                <a:gd name="connsiteX72" fmla="*/ 41191 w 674427"/>
                <a:gd name="connsiteY72" fmla="*/ 274052 h 298273"/>
                <a:gd name="connsiteX73" fmla="*/ 34528 w 674427"/>
                <a:gd name="connsiteY73" fmla="*/ 276907 h 298273"/>
                <a:gd name="connsiteX74" fmla="*/ 23105 w 674427"/>
                <a:gd name="connsiteY74" fmla="*/ 279761 h 298273"/>
                <a:gd name="connsiteX75" fmla="*/ 20249 w 674427"/>
                <a:gd name="connsiteY75" fmla="*/ 281664 h 298273"/>
                <a:gd name="connsiteX76" fmla="*/ 16442 w 674427"/>
                <a:gd name="connsiteY76" fmla="*/ 282616 h 298273"/>
                <a:gd name="connsiteX77" fmla="*/ 21201 w 674427"/>
                <a:gd name="connsiteY77" fmla="*/ 279761 h 298273"/>
                <a:gd name="connsiteX78" fmla="*/ 15490 w 674427"/>
                <a:gd name="connsiteY78" fmla="*/ 281664 h 298273"/>
                <a:gd name="connsiteX79" fmla="*/ 9778 w 674427"/>
                <a:gd name="connsiteY79" fmla="*/ 284519 h 298273"/>
                <a:gd name="connsiteX80" fmla="*/ 5971 w 674427"/>
                <a:gd name="connsiteY80" fmla="*/ 284519 h 298273"/>
                <a:gd name="connsiteX81" fmla="*/ 5019 w 674427"/>
                <a:gd name="connsiteY81" fmla="*/ 286422 h 298273"/>
                <a:gd name="connsiteX82" fmla="*/ 9778 w 674427"/>
                <a:gd name="connsiteY82" fmla="*/ 286422 h 298273"/>
                <a:gd name="connsiteX83" fmla="*/ 5019 w 674427"/>
                <a:gd name="connsiteY83" fmla="*/ 288325 h 298273"/>
                <a:gd name="connsiteX84" fmla="*/ 5971 w 674427"/>
                <a:gd name="connsiteY84" fmla="*/ 289277 h 298273"/>
                <a:gd name="connsiteX85" fmla="*/ 1211 w 674427"/>
                <a:gd name="connsiteY85" fmla="*/ 291180 h 298273"/>
                <a:gd name="connsiteX86" fmla="*/ 2163 w 674427"/>
                <a:gd name="connsiteY86" fmla="*/ 290229 h 298273"/>
                <a:gd name="connsiteX87" fmla="*/ 8827 w 674427"/>
                <a:gd name="connsiteY87" fmla="*/ 281664 h 298273"/>
                <a:gd name="connsiteX88" fmla="*/ 259 w 674427"/>
                <a:gd name="connsiteY88" fmla="*/ 291180 h 298273"/>
                <a:gd name="connsiteX89" fmla="*/ 1211 w 674427"/>
                <a:gd name="connsiteY89" fmla="*/ 292132 h 298273"/>
                <a:gd name="connsiteX90" fmla="*/ 2163 w 674427"/>
                <a:gd name="connsiteY90" fmla="*/ 290229 h 298273"/>
                <a:gd name="connsiteX91" fmla="*/ 5019 w 674427"/>
                <a:gd name="connsiteY91" fmla="*/ 291180 h 298273"/>
                <a:gd name="connsiteX92" fmla="*/ 8827 w 674427"/>
                <a:gd name="connsiteY92" fmla="*/ 284519 h 298273"/>
                <a:gd name="connsiteX93" fmla="*/ 9778 w 674427"/>
                <a:gd name="connsiteY93" fmla="*/ 284519 h 298273"/>
                <a:gd name="connsiteX94" fmla="*/ 5019 w 674427"/>
                <a:gd name="connsiteY94" fmla="*/ 287374 h 298273"/>
                <a:gd name="connsiteX95" fmla="*/ 3115 w 674427"/>
                <a:gd name="connsiteY95" fmla="*/ 290229 h 298273"/>
                <a:gd name="connsiteX96" fmla="*/ 2163 w 674427"/>
                <a:gd name="connsiteY96" fmla="*/ 290229 h 298273"/>
                <a:gd name="connsiteX97" fmla="*/ 259 w 674427"/>
                <a:gd name="connsiteY97" fmla="*/ 292132 h 298273"/>
                <a:gd name="connsiteX98" fmla="*/ 5971 w 674427"/>
                <a:gd name="connsiteY98" fmla="*/ 297841 h 298273"/>
                <a:gd name="connsiteX99" fmla="*/ 9778 w 674427"/>
                <a:gd name="connsiteY99" fmla="*/ 294035 h 298273"/>
                <a:gd name="connsiteX100" fmla="*/ 14538 w 674427"/>
                <a:gd name="connsiteY100" fmla="*/ 294035 h 298273"/>
                <a:gd name="connsiteX101" fmla="*/ 15490 w 674427"/>
                <a:gd name="connsiteY101" fmla="*/ 292132 h 298273"/>
                <a:gd name="connsiteX102" fmla="*/ 19297 w 674427"/>
                <a:gd name="connsiteY102" fmla="*/ 292132 h 298273"/>
                <a:gd name="connsiteX103" fmla="*/ 24057 w 674427"/>
                <a:gd name="connsiteY103" fmla="*/ 290229 h 298273"/>
                <a:gd name="connsiteX104" fmla="*/ 25009 w 674427"/>
                <a:gd name="connsiteY104" fmla="*/ 289277 h 298273"/>
                <a:gd name="connsiteX105" fmla="*/ 32624 w 674427"/>
                <a:gd name="connsiteY105" fmla="*/ 285471 h 298273"/>
                <a:gd name="connsiteX106" fmla="*/ 35480 w 674427"/>
                <a:gd name="connsiteY106" fmla="*/ 288325 h 298273"/>
                <a:gd name="connsiteX107" fmla="*/ 32624 w 674427"/>
                <a:gd name="connsiteY107" fmla="*/ 288325 h 298273"/>
                <a:gd name="connsiteX108" fmla="*/ 29768 w 674427"/>
                <a:gd name="connsiteY108" fmla="*/ 292132 h 298273"/>
                <a:gd name="connsiteX109" fmla="*/ 35480 w 674427"/>
                <a:gd name="connsiteY109" fmla="*/ 290229 h 298273"/>
                <a:gd name="connsiteX110" fmla="*/ 34528 w 674427"/>
                <a:gd name="connsiteY110" fmla="*/ 290229 h 298273"/>
                <a:gd name="connsiteX111" fmla="*/ 42143 w 674427"/>
                <a:gd name="connsiteY111" fmla="*/ 286422 h 298273"/>
                <a:gd name="connsiteX112" fmla="*/ 42143 w 674427"/>
                <a:gd name="connsiteY112" fmla="*/ 288325 h 298273"/>
                <a:gd name="connsiteX113" fmla="*/ 44999 w 674427"/>
                <a:gd name="connsiteY113" fmla="*/ 287374 h 298273"/>
                <a:gd name="connsiteX114" fmla="*/ 44999 w 674427"/>
                <a:gd name="connsiteY114" fmla="*/ 287374 h 298273"/>
                <a:gd name="connsiteX115" fmla="*/ 48806 w 674427"/>
                <a:gd name="connsiteY115" fmla="*/ 285471 h 298273"/>
                <a:gd name="connsiteX116" fmla="*/ 61181 w 674427"/>
                <a:gd name="connsiteY116" fmla="*/ 276907 h 298273"/>
                <a:gd name="connsiteX117" fmla="*/ 64989 w 674427"/>
                <a:gd name="connsiteY117" fmla="*/ 275004 h 298273"/>
                <a:gd name="connsiteX118" fmla="*/ 50710 w 674427"/>
                <a:gd name="connsiteY118" fmla="*/ 284519 h 298273"/>
                <a:gd name="connsiteX119" fmla="*/ 71652 w 674427"/>
                <a:gd name="connsiteY119" fmla="*/ 272149 h 298273"/>
                <a:gd name="connsiteX120" fmla="*/ 73556 w 674427"/>
                <a:gd name="connsiteY120" fmla="*/ 270246 h 298273"/>
                <a:gd name="connsiteX121" fmla="*/ 75460 w 674427"/>
                <a:gd name="connsiteY121" fmla="*/ 271197 h 298273"/>
                <a:gd name="connsiteX122" fmla="*/ 75460 w 674427"/>
                <a:gd name="connsiteY122" fmla="*/ 271197 h 298273"/>
                <a:gd name="connsiteX123" fmla="*/ 77363 w 674427"/>
                <a:gd name="connsiteY123" fmla="*/ 271197 h 298273"/>
                <a:gd name="connsiteX124" fmla="*/ 89738 w 674427"/>
                <a:gd name="connsiteY124" fmla="*/ 264536 h 298273"/>
                <a:gd name="connsiteX125" fmla="*/ 85930 w 674427"/>
                <a:gd name="connsiteY125" fmla="*/ 269294 h 298273"/>
                <a:gd name="connsiteX126" fmla="*/ 84979 w 674427"/>
                <a:gd name="connsiteY126" fmla="*/ 269294 h 298273"/>
                <a:gd name="connsiteX127" fmla="*/ 83075 w 674427"/>
                <a:gd name="connsiteY127" fmla="*/ 271197 h 298273"/>
                <a:gd name="connsiteX128" fmla="*/ 89738 w 674427"/>
                <a:gd name="connsiteY128" fmla="*/ 267391 h 298273"/>
                <a:gd name="connsiteX129" fmla="*/ 91642 w 674427"/>
                <a:gd name="connsiteY129" fmla="*/ 267391 h 298273"/>
                <a:gd name="connsiteX130" fmla="*/ 91642 w 674427"/>
                <a:gd name="connsiteY130" fmla="*/ 267391 h 298273"/>
                <a:gd name="connsiteX131" fmla="*/ 92594 w 674427"/>
                <a:gd name="connsiteY131" fmla="*/ 268343 h 298273"/>
                <a:gd name="connsiteX132" fmla="*/ 92594 w 674427"/>
                <a:gd name="connsiteY132" fmla="*/ 268343 h 298273"/>
                <a:gd name="connsiteX133" fmla="*/ 105920 w 674427"/>
                <a:gd name="connsiteY133" fmla="*/ 261681 h 298273"/>
                <a:gd name="connsiteX134" fmla="*/ 106872 w 674427"/>
                <a:gd name="connsiteY134" fmla="*/ 259778 h 298273"/>
                <a:gd name="connsiteX135" fmla="*/ 119247 w 674427"/>
                <a:gd name="connsiteY135" fmla="*/ 255972 h 298273"/>
                <a:gd name="connsiteX136" fmla="*/ 118295 w 674427"/>
                <a:gd name="connsiteY136" fmla="*/ 254069 h 298273"/>
                <a:gd name="connsiteX137" fmla="*/ 122103 w 674427"/>
                <a:gd name="connsiteY137" fmla="*/ 253117 h 298273"/>
                <a:gd name="connsiteX138" fmla="*/ 126862 w 674427"/>
                <a:gd name="connsiteY138" fmla="*/ 255972 h 298273"/>
                <a:gd name="connsiteX139" fmla="*/ 131622 w 674427"/>
                <a:gd name="connsiteY139" fmla="*/ 254069 h 298273"/>
                <a:gd name="connsiteX140" fmla="*/ 133525 w 674427"/>
                <a:gd name="connsiteY140" fmla="*/ 251214 h 298273"/>
                <a:gd name="connsiteX141" fmla="*/ 139237 w 674427"/>
                <a:gd name="connsiteY141" fmla="*/ 249311 h 298273"/>
                <a:gd name="connsiteX142" fmla="*/ 140189 w 674427"/>
                <a:gd name="connsiteY142" fmla="*/ 251214 h 298273"/>
                <a:gd name="connsiteX143" fmla="*/ 148756 w 674427"/>
                <a:gd name="connsiteY143" fmla="*/ 248360 h 298273"/>
                <a:gd name="connsiteX144" fmla="*/ 155419 w 674427"/>
                <a:gd name="connsiteY144" fmla="*/ 243602 h 298273"/>
                <a:gd name="connsiteX145" fmla="*/ 161131 w 674427"/>
                <a:gd name="connsiteY145" fmla="*/ 238844 h 2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74427" h="298273">
                  <a:moveTo>
                    <a:pt x="161131" y="238844"/>
                  </a:moveTo>
                  <a:lnTo>
                    <a:pt x="163986" y="237892"/>
                  </a:lnTo>
                  <a:cubicBezTo>
                    <a:pt x="155419" y="242650"/>
                    <a:pt x="145900" y="246456"/>
                    <a:pt x="136381" y="250263"/>
                  </a:cubicBezTo>
                  <a:cubicBezTo>
                    <a:pt x="158275" y="244553"/>
                    <a:pt x="183024" y="236941"/>
                    <a:pt x="194447" y="220764"/>
                  </a:cubicBezTo>
                  <a:cubicBezTo>
                    <a:pt x="198255" y="224570"/>
                    <a:pt x="218245" y="216958"/>
                    <a:pt x="218245" y="216006"/>
                  </a:cubicBezTo>
                  <a:cubicBezTo>
                    <a:pt x="222052" y="213152"/>
                    <a:pt x="225860" y="210297"/>
                    <a:pt x="229667" y="208394"/>
                  </a:cubicBezTo>
                  <a:cubicBezTo>
                    <a:pt x="226812" y="210297"/>
                    <a:pt x="224908" y="212200"/>
                    <a:pt x="222052" y="213152"/>
                  </a:cubicBezTo>
                  <a:cubicBezTo>
                    <a:pt x="224908" y="211248"/>
                    <a:pt x="227764" y="209345"/>
                    <a:pt x="229667" y="208394"/>
                  </a:cubicBezTo>
                  <a:cubicBezTo>
                    <a:pt x="254417" y="192217"/>
                    <a:pt x="282974" y="180798"/>
                    <a:pt x="313435" y="169379"/>
                  </a:cubicBezTo>
                  <a:cubicBezTo>
                    <a:pt x="329617" y="162718"/>
                    <a:pt x="374356" y="143687"/>
                    <a:pt x="392442" y="137978"/>
                  </a:cubicBezTo>
                  <a:lnTo>
                    <a:pt x="400057" y="135123"/>
                  </a:lnTo>
                  <a:cubicBezTo>
                    <a:pt x="396250" y="136074"/>
                    <a:pt x="396250" y="136074"/>
                    <a:pt x="391490" y="137978"/>
                  </a:cubicBezTo>
                  <a:cubicBezTo>
                    <a:pt x="401009" y="132268"/>
                    <a:pt x="409576" y="126559"/>
                    <a:pt x="418144" y="121801"/>
                  </a:cubicBezTo>
                  <a:cubicBezTo>
                    <a:pt x="416240" y="121801"/>
                    <a:pt x="415288" y="120849"/>
                    <a:pt x="411480" y="121801"/>
                  </a:cubicBezTo>
                  <a:lnTo>
                    <a:pt x="416240" y="119898"/>
                  </a:lnTo>
                  <a:cubicBezTo>
                    <a:pt x="419095" y="116092"/>
                    <a:pt x="429566" y="112285"/>
                    <a:pt x="433374" y="109430"/>
                  </a:cubicBezTo>
                  <a:cubicBezTo>
                    <a:pt x="432422" y="111334"/>
                    <a:pt x="436230" y="109430"/>
                    <a:pt x="440037" y="108479"/>
                  </a:cubicBezTo>
                  <a:lnTo>
                    <a:pt x="438133" y="108479"/>
                  </a:lnTo>
                  <a:cubicBezTo>
                    <a:pt x="450508" y="103721"/>
                    <a:pt x="463835" y="97060"/>
                    <a:pt x="474306" y="92302"/>
                  </a:cubicBezTo>
                  <a:cubicBezTo>
                    <a:pt x="476209" y="91351"/>
                    <a:pt x="477161" y="91351"/>
                    <a:pt x="478113" y="91351"/>
                  </a:cubicBezTo>
                  <a:lnTo>
                    <a:pt x="488584" y="86593"/>
                  </a:lnTo>
                  <a:cubicBezTo>
                    <a:pt x="488584" y="88496"/>
                    <a:pt x="498103" y="84690"/>
                    <a:pt x="493344" y="87544"/>
                  </a:cubicBezTo>
                  <a:cubicBezTo>
                    <a:pt x="500007" y="82787"/>
                    <a:pt x="508574" y="80883"/>
                    <a:pt x="515237" y="76126"/>
                  </a:cubicBezTo>
                  <a:cubicBezTo>
                    <a:pt x="528564" y="70416"/>
                    <a:pt x="541891" y="64707"/>
                    <a:pt x="555217" y="58997"/>
                  </a:cubicBezTo>
                  <a:cubicBezTo>
                    <a:pt x="568544" y="53288"/>
                    <a:pt x="582822" y="47578"/>
                    <a:pt x="596149" y="40917"/>
                  </a:cubicBezTo>
                  <a:lnTo>
                    <a:pt x="595197" y="40917"/>
                  </a:lnTo>
                  <a:cubicBezTo>
                    <a:pt x="604716" y="36160"/>
                    <a:pt x="612331" y="31402"/>
                    <a:pt x="624706" y="27596"/>
                  </a:cubicBezTo>
                  <a:cubicBezTo>
                    <a:pt x="632321" y="22838"/>
                    <a:pt x="644696" y="18080"/>
                    <a:pt x="646599" y="14274"/>
                  </a:cubicBezTo>
                  <a:cubicBezTo>
                    <a:pt x="656118" y="10467"/>
                    <a:pt x="659926" y="8564"/>
                    <a:pt x="669445" y="4758"/>
                  </a:cubicBezTo>
                  <a:cubicBezTo>
                    <a:pt x="666589" y="3806"/>
                    <a:pt x="678012" y="0"/>
                    <a:pt x="673253" y="0"/>
                  </a:cubicBezTo>
                  <a:cubicBezTo>
                    <a:pt x="666589" y="0"/>
                    <a:pt x="666589" y="1903"/>
                    <a:pt x="659926" y="1903"/>
                  </a:cubicBezTo>
                  <a:lnTo>
                    <a:pt x="659926" y="1903"/>
                  </a:lnTo>
                  <a:cubicBezTo>
                    <a:pt x="633273" y="7613"/>
                    <a:pt x="607572" y="15225"/>
                    <a:pt x="581870" y="23789"/>
                  </a:cubicBezTo>
                  <a:cubicBezTo>
                    <a:pt x="565688" y="31402"/>
                    <a:pt x="546650" y="37111"/>
                    <a:pt x="528564" y="44724"/>
                  </a:cubicBezTo>
                  <a:cubicBezTo>
                    <a:pt x="509526" y="52336"/>
                    <a:pt x="489536" y="61852"/>
                    <a:pt x="474306" y="69465"/>
                  </a:cubicBezTo>
                  <a:cubicBezTo>
                    <a:pt x="470498" y="71368"/>
                    <a:pt x="467642" y="71368"/>
                    <a:pt x="463835" y="72319"/>
                  </a:cubicBezTo>
                  <a:cubicBezTo>
                    <a:pt x="449556" y="78980"/>
                    <a:pt x="430518" y="86593"/>
                    <a:pt x="414336" y="94205"/>
                  </a:cubicBezTo>
                  <a:lnTo>
                    <a:pt x="415288" y="94205"/>
                  </a:lnTo>
                  <a:cubicBezTo>
                    <a:pt x="406721" y="98012"/>
                    <a:pt x="399106" y="99915"/>
                    <a:pt x="390538" y="103721"/>
                  </a:cubicBezTo>
                  <a:cubicBezTo>
                    <a:pt x="390538" y="103721"/>
                    <a:pt x="389587" y="104673"/>
                    <a:pt x="388635" y="105624"/>
                  </a:cubicBezTo>
                  <a:cubicBezTo>
                    <a:pt x="386731" y="104673"/>
                    <a:pt x="340088" y="132268"/>
                    <a:pt x="336280" y="132268"/>
                  </a:cubicBezTo>
                  <a:lnTo>
                    <a:pt x="333424" y="134171"/>
                  </a:lnTo>
                  <a:cubicBezTo>
                    <a:pt x="315338" y="141784"/>
                    <a:pt x="295348" y="146542"/>
                    <a:pt x="280118" y="154154"/>
                  </a:cubicBezTo>
                  <a:cubicBezTo>
                    <a:pt x="277262" y="157009"/>
                    <a:pt x="273455" y="158912"/>
                    <a:pt x="271551" y="161767"/>
                  </a:cubicBezTo>
                  <a:cubicBezTo>
                    <a:pt x="268695" y="161767"/>
                    <a:pt x="268695" y="163670"/>
                    <a:pt x="264888" y="165573"/>
                  </a:cubicBezTo>
                  <a:cubicBezTo>
                    <a:pt x="254417" y="165573"/>
                    <a:pt x="250609" y="169379"/>
                    <a:pt x="255369" y="169379"/>
                  </a:cubicBezTo>
                  <a:cubicBezTo>
                    <a:pt x="248705" y="173186"/>
                    <a:pt x="242042" y="176040"/>
                    <a:pt x="235379" y="178895"/>
                  </a:cubicBezTo>
                  <a:cubicBezTo>
                    <a:pt x="232523" y="180798"/>
                    <a:pt x="229667" y="181750"/>
                    <a:pt x="227764" y="183653"/>
                  </a:cubicBezTo>
                  <a:cubicBezTo>
                    <a:pt x="225860" y="185556"/>
                    <a:pt x="223956" y="185556"/>
                    <a:pt x="222052" y="184604"/>
                  </a:cubicBezTo>
                  <a:cubicBezTo>
                    <a:pt x="216341" y="188411"/>
                    <a:pt x="217293" y="186508"/>
                    <a:pt x="210629" y="189362"/>
                  </a:cubicBezTo>
                  <a:cubicBezTo>
                    <a:pt x="208726" y="188411"/>
                    <a:pt x="195399" y="198878"/>
                    <a:pt x="193495" y="199829"/>
                  </a:cubicBezTo>
                  <a:lnTo>
                    <a:pt x="194447" y="198878"/>
                  </a:lnTo>
                  <a:cubicBezTo>
                    <a:pt x="186832" y="202684"/>
                    <a:pt x="181120" y="201733"/>
                    <a:pt x="173505" y="205539"/>
                  </a:cubicBezTo>
                  <a:cubicBezTo>
                    <a:pt x="152563" y="214103"/>
                    <a:pt x="131622" y="225522"/>
                    <a:pt x="112584" y="235038"/>
                  </a:cubicBezTo>
                  <a:cubicBezTo>
                    <a:pt x="112584" y="235989"/>
                    <a:pt x="116391" y="233134"/>
                    <a:pt x="117343" y="234086"/>
                  </a:cubicBezTo>
                  <a:cubicBezTo>
                    <a:pt x="105920" y="238844"/>
                    <a:pt x="94498" y="242650"/>
                    <a:pt x="83075" y="248360"/>
                  </a:cubicBezTo>
                  <a:cubicBezTo>
                    <a:pt x="81171" y="249311"/>
                    <a:pt x="78315" y="249311"/>
                    <a:pt x="77363" y="249311"/>
                  </a:cubicBezTo>
                  <a:cubicBezTo>
                    <a:pt x="73556" y="250263"/>
                    <a:pt x="75460" y="251214"/>
                    <a:pt x="72604" y="252166"/>
                  </a:cubicBezTo>
                  <a:lnTo>
                    <a:pt x="71652" y="251214"/>
                  </a:lnTo>
                  <a:cubicBezTo>
                    <a:pt x="68796" y="254069"/>
                    <a:pt x="64989" y="252166"/>
                    <a:pt x="62133" y="255021"/>
                  </a:cubicBezTo>
                  <a:cubicBezTo>
                    <a:pt x="62133" y="255972"/>
                    <a:pt x="61181" y="255972"/>
                    <a:pt x="59277" y="256924"/>
                  </a:cubicBezTo>
                  <a:cubicBezTo>
                    <a:pt x="58325" y="255972"/>
                    <a:pt x="55470" y="258827"/>
                    <a:pt x="55470" y="257875"/>
                  </a:cubicBezTo>
                  <a:lnTo>
                    <a:pt x="55470" y="257875"/>
                  </a:lnTo>
                  <a:cubicBezTo>
                    <a:pt x="54518" y="257875"/>
                    <a:pt x="54518" y="258827"/>
                    <a:pt x="53566" y="258827"/>
                  </a:cubicBezTo>
                  <a:cubicBezTo>
                    <a:pt x="52614" y="259778"/>
                    <a:pt x="40239" y="270246"/>
                    <a:pt x="39287" y="271197"/>
                  </a:cubicBezTo>
                  <a:lnTo>
                    <a:pt x="38335" y="271197"/>
                  </a:lnTo>
                  <a:cubicBezTo>
                    <a:pt x="36432" y="272149"/>
                    <a:pt x="35480" y="274052"/>
                    <a:pt x="37384" y="273100"/>
                  </a:cubicBezTo>
                  <a:lnTo>
                    <a:pt x="34528" y="274052"/>
                  </a:lnTo>
                  <a:lnTo>
                    <a:pt x="34528" y="274052"/>
                  </a:lnTo>
                  <a:lnTo>
                    <a:pt x="31672" y="275004"/>
                  </a:lnTo>
                  <a:cubicBezTo>
                    <a:pt x="30720" y="275004"/>
                    <a:pt x="30720" y="275004"/>
                    <a:pt x="30720" y="274052"/>
                  </a:cubicBezTo>
                  <a:cubicBezTo>
                    <a:pt x="29768" y="275004"/>
                    <a:pt x="27865" y="275955"/>
                    <a:pt x="26913" y="276907"/>
                  </a:cubicBezTo>
                  <a:cubicBezTo>
                    <a:pt x="31672" y="275955"/>
                    <a:pt x="36432" y="274052"/>
                    <a:pt x="41191" y="274052"/>
                  </a:cubicBezTo>
                  <a:cubicBezTo>
                    <a:pt x="39287" y="275004"/>
                    <a:pt x="36432" y="275955"/>
                    <a:pt x="34528" y="276907"/>
                  </a:cubicBezTo>
                  <a:cubicBezTo>
                    <a:pt x="31672" y="276907"/>
                    <a:pt x="26913" y="278810"/>
                    <a:pt x="23105" y="279761"/>
                  </a:cubicBezTo>
                  <a:cubicBezTo>
                    <a:pt x="22153" y="279761"/>
                    <a:pt x="22153" y="281664"/>
                    <a:pt x="20249" y="281664"/>
                  </a:cubicBezTo>
                  <a:cubicBezTo>
                    <a:pt x="19297" y="280713"/>
                    <a:pt x="18346" y="282616"/>
                    <a:pt x="16442" y="282616"/>
                  </a:cubicBezTo>
                  <a:cubicBezTo>
                    <a:pt x="17394" y="281664"/>
                    <a:pt x="19297" y="280713"/>
                    <a:pt x="21201" y="279761"/>
                  </a:cubicBezTo>
                  <a:cubicBezTo>
                    <a:pt x="20249" y="278810"/>
                    <a:pt x="16442" y="280713"/>
                    <a:pt x="15490" y="281664"/>
                  </a:cubicBezTo>
                  <a:cubicBezTo>
                    <a:pt x="15490" y="282616"/>
                    <a:pt x="11682" y="283568"/>
                    <a:pt x="9778" y="284519"/>
                  </a:cubicBezTo>
                  <a:cubicBezTo>
                    <a:pt x="9778" y="282616"/>
                    <a:pt x="7875" y="284519"/>
                    <a:pt x="5971" y="284519"/>
                  </a:cubicBezTo>
                  <a:cubicBezTo>
                    <a:pt x="4067" y="285471"/>
                    <a:pt x="4067" y="285471"/>
                    <a:pt x="5019" y="286422"/>
                  </a:cubicBezTo>
                  <a:cubicBezTo>
                    <a:pt x="5019" y="288325"/>
                    <a:pt x="10730" y="284519"/>
                    <a:pt x="9778" y="286422"/>
                  </a:cubicBezTo>
                  <a:cubicBezTo>
                    <a:pt x="8827" y="286422"/>
                    <a:pt x="5971" y="287374"/>
                    <a:pt x="5019" y="288325"/>
                  </a:cubicBezTo>
                  <a:cubicBezTo>
                    <a:pt x="5019" y="289277"/>
                    <a:pt x="5971" y="288325"/>
                    <a:pt x="5971" y="289277"/>
                  </a:cubicBezTo>
                  <a:cubicBezTo>
                    <a:pt x="4067" y="290229"/>
                    <a:pt x="3115" y="291180"/>
                    <a:pt x="1211" y="291180"/>
                  </a:cubicBezTo>
                  <a:lnTo>
                    <a:pt x="2163" y="290229"/>
                  </a:lnTo>
                  <a:cubicBezTo>
                    <a:pt x="259" y="291180"/>
                    <a:pt x="11682" y="280713"/>
                    <a:pt x="8827" y="281664"/>
                  </a:cubicBezTo>
                  <a:cubicBezTo>
                    <a:pt x="9778" y="281664"/>
                    <a:pt x="-1644" y="291180"/>
                    <a:pt x="259" y="291180"/>
                  </a:cubicBezTo>
                  <a:cubicBezTo>
                    <a:pt x="2163" y="291180"/>
                    <a:pt x="259" y="293083"/>
                    <a:pt x="1211" y="292132"/>
                  </a:cubicBezTo>
                  <a:lnTo>
                    <a:pt x="2163" y="290229"/>
                  </a:lnTo>
                  <a:cubicBezTo>
                    <a:pt x="4067" y="289277"/>
                    <a:pt x="5019" y="290229"/>
                    <a:pt x="5019" y="291180"/>
                  </a:cubicBezTo>
                  <a:cubicBezTo>
                    <a:pt x="2163" y="292132"/>
                    <a:pt x="11682" y="282616"/>
                    <a:pt x="8827" y="284519"/>
                  </a:cubicBezTo>
                  <a:lnTo>
                    <a:pt x="9778" y="284519"/>
                  </a:lnTo>
                  <a:cubicBezTo>
                    <a:pt x="8827" y="285471"/>
                    <a:pt x="5971" y="287374"/>
                    <a:pt x="5019" y="287374"/>
                  </a:cubicBezTo>
                  <a:cubicBezTo>
                    <a:pt x="5019" y="288325"/>
                    <a:pt x="4067" y="289277"/>
                    <a:pt x="3115" y="290229"/>
                  </a:cubicBezTo>
                  <a:lnTo>
                    <a:pt x="2163" y="290229"/>
                  </a:lnTo>
                  <a:cubicBezTo>
                    <a:pt x="1211" y="291180"/>
                    <a:pt x="-692" y="292132"/>
                    <a:pt x="259" y="292132"/>
                  </a:cubicBezTo>
                  <a:cubicBezTo>
                    <a:pt x="7875" y="288325"/>
                    <a:pt x="-1644" y="300696"/>
                    <a:pt x="5971" y="297841"/>
                  </a:cubicBezTo>
                  <a:cubicBezTo>
                    <a:pt x="2163" y="297841"/>
                    <a:pt x="5971" y="295938"/>
                    <a:pt x="9778" y="294035"/>
                  </a:cubicBezTo>
                  <a:cubicBezTo>
                    <a:pt x="10730" y="294035"/>
                    <a:pt x="11682" y="294035"/>
                    <a:pt x="14538" y="294035"/>
                  </a:cubicBezTo>
                  <a:cubicBezTo>
                    <a:pt x="16442" y="293083"/>
                    <a:pt x="15490" y="293083"/>
                    <a:pt x="15490" y="292132"/>
                  </a:cubicBezTo>
                  <a:cubicBezTo>
                    <a:pt x="16442" y="292132"/>
                    <a:pt x="19297" y="291180"/>
                    <a:pt x="19297" y="292132"/>
                  </a:cubicBezTo>
                  <a:cubicBezTo>
                    <a:pt x="20249" y="290229"/>
                    <a:pt x="22153" y="291180"/>
                    <a:pt x="24057" y="290229"/>
                  </a:cubicBezTo>
                  <a:cubicBezTo>
                    <a:pt x="25961" y="289277"/>
                    <a:pt x="24057" y="290229"/>
                    <a:pt x="25009" y="289277"/>
                  </a:cubicBezTo>
                  <a:cubicBezTo>
                    <a:pt x="27865" y="288325"/>
                    <a:pt x="30720" y="286422"/>
                    <a:pt x="32624" y="285471"/>
                  </a:cubicBezTo>
                  <a:cubicBezTo>
                    <a:pt x="33576" y="285471"/>
                    <a:pt x="36432" y="285471"/>
                    <a:pt x="35480" y="288325"/>
                  </a:cubicBezTo>
                  <a:cubicBezTo>
                    <a:pt x="31672" y="290229"/>
                    <a:pt x="36432" y="285471"/>
                    <a:pt x="32624" y="288325"/>
                  </a:cubicBezTo>
                  <a:cubicBezTo>
                    <a:pt x="35480" y="289277"/>
                    <a:pt x="29768" y="290229"/>
                    <a:pt x="29768" y="292132"/>
                  </a:cubicBezTo>
                  <a:cubicBezTo>
                    <a:pt x="31672" y="292132"/>
                    <a:pt x="33576" y="291180"/>
                    <a:pt x="35480" y="290229"/>
                  </a:cubicBezTo>
                  <a:lnTo>
                    <a:pt x="34528" y="290229"/>
                  </a:lnTo>
                  <a:cubicBezTo>
                    <a:pt x="36432" y="289277"/>
                    <a:pt x="40239" y="287374"/>
                    <a:pt x="42143" y="286422"/>
                  </a:cubicBezTo>
                  <a:cubicBezTo>
                    <a:pt x="42143" y="287374"/>
                    <a:pt x="43095" y="287374"/>
                    <a:pt x="42143" y="288325"/>
                  </a:cubicBezTo>
                  <a:lnTo>
                    <a:pt x="44999" y="287374"/>
                  </a:lnTo>
                  <a:cubicBezTo>
                    <a:pt x="44999" y="287374"/>
                    <a:pt x="44999" y="286422"/>
                    <a:pt x="44999" y="287374"/>
                  </a:cubicBezTo>
                  <a:cubicBezTo>
                    <a:pt x="45951" y="286422"/>
                    <a:pt x="46903" y="286422"/>
                    <a:pt x="48806" y="285471"/>
                  </a:cubicBezTo>
                  <a:cubicBezTo>
                    <a:pt x="49758" y="285471"/>
                    <a:pt x="61181" y="275955"/>
                    <a:pt x="61181" y="276907"/>
                  </a:cubicBezTo>
                  <a:cubicBezTo>
                    <a:pt x="63085" y="275955"/>
                    <a:pt x="64037" y="276907"/>
                    <a:pt x="64989" y="275004"/>
                  </a:cubicBezTo>
                  <a:cubicBezTo>
                    <a:pt x="64989" y="274052"/>
                    <a:pt x="48806" y="285471"/>
                    <a:pt x="50710" y="284519"/>
                  </a:cubicBezTo>
                  <a:cubicBezTo>
                    <a:pt x="52614" y="284519"/>
                    <a:pt x="69748" y="271197"/>
                    <a:pt x="71652" y="272149"/>
                  </a:cubicBezTo>
                  <a:cubicBezTo>
                    <a:pt x="72604" y="271197"/>
                    <a:pt x="74508" y="270246"/>
                    <a:pt x="73556" y="270246"/>
                  </a:cubicBezTo>
                  <a:cubicBezTo>
                    <a:pt x="76411" y="269294"/>
                    <a:pt x="73556" y="272149"/>
                    <a:pt x="75460" y="271197"/>
                  </a:cubicBezTo>
                  <a:lnTo>
                    <a:pt x="75460" y="271197"/>
                  </a:lnTo>
                  <a:lnTo>
                    <a:pt x="77363" y="271197"/>
                  </a:lnTo>
                  <a:cubicBezTo>
                    <a:pt x="80219" y="268343"/>
                    <a:pt x="85930" y="267391"/>
                    <a:pt x="89738" y="264536"/>
                  </a:cubicBezTo>
                  <a:cubicBezTo>
                    <a:pt x="88786" y="265488"/>
                    <a:pt x="88786" y="267391"/>
                    <a:pt x="85930" y="269294"/>
                  </a:cubicBezTo>
                  <a:lnTo>
                    <a:pt x="84979" y="269294"/>
                  </a:lnTo>
                  <a:lnTo>
                    <a:pt x="83075" y="271197"/>
                  </a:lnTo>
                  <a:cubicBezTo>
                    <a:pt x="85930" y="270246"/>
                    <a:pt x="87834" y="269294"/>
                    <a:pt x="89738" y="267391"/>
                  </a:cubicBezTo>
                  <a:cubicBezTo>
                    <a:pt x="90690" y="267391"/>
                    <a:pt x="90690" y="267391"/>
                    <a:pt x="91642" y="267391"/>
                  </a:cubicBezTo>
                  <a:lnTo>
                    <a:pt x="91642" y="267391"/>
                  </a:lnTo>
                  <a:cubicBezTo>
                    <a:pt x="92594" y="267391"/>
                    <a:pt x="92594" y="267391"/>
                    <a:pt x="92594" y="268343"/>
                  </a:cubicBezTo>
                  <a:lnTo>
                    <a:pt x="92594" y="268343"/>
                  </a:lnTo>
                  <a:cubicBezTo>
                    <a:pt x="94498" y="269294"/>
                    <a:pt x="101161" y="262633"/>
                    <a:pt x="105920" y="261681"/>
                  </a:cubicBezTo>
                  <a:cubicBezTo>
                    <a:pt x="106872" y="260730"/>
                    <a:pt x="105920" y="261681"/>
                    <a:pt x="106872" y="259778"/>
                  </a:cubicBezTo>
                  <a:cubicBezTo>
                    <a:pt x="111632" y="258827"/>
                    <a:pt x="114487" y="257875"/>
                    <a:pt x="119247" y="255972"/>
                  </a:cubicBezTo>
                  <a:cubicBezTo>
                    <a:pt x="120199" y="254069"/>
                    <a:pt x="120199" y="254069"/>
                    <a:pt x="118295" y="254069"/>
                  </a:cubicBezTo>
                  <a:lnTo>
                    <a:pt x="122103" y="253117"/>
                  </a:lnTo>
                  <a:cubicBezTo>
                    <a:pt x="120199" y="256924"/>
                    <a:pt x="129718" y="252166"/>
                    <a:pt x="126862" y="255972"/>
                  </a:cubicBezTo>
                  <a:cubicBezTo>
                    <a:pt x="127814" y="255972"/>
                    <a:pt x="129718" y="255021"/>
                    <a:pt x="131622" y="254069"/>
                  </a:cubicBezTo>
                  <a:cubicBezTo>
                    <a:pt x="131622" y="253117"/>
                    <a:pt x="131622" y="252166"/>
                    <a:pt x="133525" y="251214"/>
                  </a:cubicBezTo>
                  <a:cubicBezTo>
                    <a:pt x="137333" y="250263"/>
                    <a:pt x="136381" y="250263"/>
                    <a:pt x="139237" y="249311"/>
                  </a:cubicBezTo>
                  <a:cubicBezTo>
                    <a:pt x="140189" y="249311"/>
                    <a:pt x="139237" y="250263"/>
                    <a:pt x="140189" y="251214"/>
                  </a:cubicBezTo>
                  <a:cubicBezTo>
                    <a:pt x="143996" y="248360"/>
                    <a:pt x="144948" y="251214"/>
                    <a:pt x="148756" y="248360"/>
                  </a:cubicBezTo>
                  <a:cubicBezTo>
                    <a:pt x="151612" y="247408"/>
                    <a:pt x="156371" y="244553"/>
                    <a:pt x="155419" y="243602"/>
                  </a:cubicBezTo>
                  <a:cubicBezTo>
                    <a:pt x="161131" y="236941"/>
                    <a:pt x="161131" y="237892"/>
                    <a:pt x="161131" y="238844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  <p:sp>
          <p:nvSpPr>
            <p:cNvPr id="12" name="Kombinationstegning 11">
              <a:extLst>
                <a:ext uri="{FF2B5EF4-FFF2-40B4-BE49-F238E27FC236}">
                  <a16:creationId xmlns:a16="http://schemas.microsoft.com/office/drawing/2014/main" id="{82041656-5DF5-7545-B85B-7EC994BC2117}"/>
                </a:ext>
              </a:extLst>
            </p:cNvPr>
            <p:cNvSpPr/>
            <p:nvPr/>
          </p:nvSpPr>
          <p:spPr>
            <a:xfrm>
              <a:off x="4230253" y="1614978"/>
              <a:ext cx="327509" cy="227766"/>
            </a:xfrm>
            <a:custGeom>
              <a:avLst/>
              <a:gdLst>
                <a:gd name="connsiteX0" fmla="*/ 139034 w 327509"/>
                <a:gd name="connsiteY0" fmla="*/ 58997 h 227766"/>
                <a:gd name="connsiteX1" fmla="*/ 141889 w 327509"/>
                <a:gd name="connsiteY1" fmla="*/ 58997 h 227766"/>
                <a:gd name="connsiteX2" fmla="*/ 116188 w 327509"/>
                <a:gd name="connsiteY2" fmla="*/ 61852 h 227766"/>
                <a:gd name="connsiteX3" fmla="*/ 170446 w 327509"/>
                <a:gd name="connsiteY3" fmla="*/ 51385 h 227766"/>
                <a:gd name="connsiteX4" fmla="*/ 191388 w 327509"/>
                <a:gd name="connsiteY4" fmla="*/ 54239 h 227766"/>
                <a:gd name="connsiteX5" fmla="*/ 201859 w 327509"/>
                <a:gd name="connsiteY5" fmla="*/ 50433 h 227766"/>
                <a:gd name="connsiteX6" fmla="*/ 194244 w 327509"/>
                <a:gd name="connsiteY6" fmla="*/ 53288 h 227766"/>
                <a:gd name="connsiteX7" fmla="*/ 201859 w 327509"/>
                <a:gd name="connsiteY7" fmla="*/ 50433 h 227766"/>
                <a:gd name="connsiteX8" fmla="*/ 210426 w 327509"/>
                <a:gd name="connsiteY8" fmla="*/ 47578 h 227766"/>
                <a:gd name="connsiteX9" fmla="*/ 218041 w 327509"/>
                <a:gd name="connsiteY9" fmla="*/ 45675 h 227766"/>
                <a:gd name="connsiteX10" fmla="*/ 224705 w 327509"/>
                <a:gd name="connsiteY10" fmla="*/ 43772 h 227766"/>
                <a:gd name="connsiteX11" fmla="*/ 231368 w 327509"/>
                <a:gd name="connsiteY11" fmla="*/ 44724 h 227766"/>
                <a:gd name="connsiteX12" fmla="*/ 231368 w 327509"/>
                <a:gd name="connsiteY12" fmla="*/ 44724 h 227766"/>
                <a:gd name="connsiteX13" fmla="*/ 230416 w 327509"/>
                <a:gd name="connsiteY13" fmla="*/ 45675 h 227766"/>
                <a:gd name="connsiteX14" fmla="*/ 225657 w 327509"/>
                <a:gd name="connsiteY14" fmla="*/ 48530 h 227766"/>
                <a:gd name="connsiteX15" fmla="*/ 219945 w 327509"/>
                <a:gd name="connsiteY15" fmla="*/ 51385 h 227766"/>
                <a:gd name="connsiteX16" fmla="*/ 218993 w 327509"/>
                <a:gd name="connsiteY16" fmla="*/ 51385 h 227766"/>
                <a:gd name="connsiteX17" fmla="*/ 219945 w 327509"/>
                <a:gd name="connsiteY17" fmla="*/ 51385 h 227766"/>
                <a:gd name="connsiteX18" fmla="*/ 220897 w 327509"/>
                <a:gd name="connsiteY18" fmla="*/ 53288 h 227766"/>
                <a:gd name="connsiteX19" fmla="*/ 220897 w 327509"/>
                <a:gd name="connsiteY19" fmla="*/ 53288 h 227766"/>
                <a:gd name="connsiteX20" fmla="*/ 219945 w 327509"/>
                <a:gd name="connsiteY20" fmla="*/ 54239 h 227766"/>
                <a:gd name="connsiteX21" fmla="*/ 218041 w 327509"/>
                <a:gd name="connsiteY21" fmla="*/ 56143 h 227766"/>
                <a:gd name="connsiteX22" fmla="*/ 213282 w 327509"/>
                <a:gd name="connsiteY22" fmla="*/ 60900 h 227766"/>
                <a:gd name="connsiteX23" fmla="*/ 218993 w 327509"/>
                <a:gd name="connsiteY23" fmla="*/ 59949 h 227766"/>
                <a:gd name="connsiteX24" fmla="*/ 215186 w 327509"/>
                <a:gd name="connsiteY24" fmla="*/ 61852 h 227766"/>
                <a:gd name="connsiteX25" fmla="*/ 203763 w 327509"/>
                <a:gd name="connsiteY25" fmla="*/ 75174 h 227766"/>
                <a:gd name="connsiteX26" fmla="*/ 199003 w 327509"/>
                <a:gd name="connsiteY26" fmla="*/ 77077 h 227766"/>
                <a:gd name="connsiteX27" fmla="*/ 199955 w 327509"/>
                <a:gd name="connsiteY27" fmla="*/ 77077 h 227766"/>
                <a:gd name="connsiteX28" fmla="*/ 174254 w 327509"/>
                <a:gd name="connsiteY28" fmla="*/ 98011 h 227766"/>
                <a:gd name="connsiteX29" fmla="*/ 171398 w 327509"/>
                <a:gd name="connsiteY29" fmla="*/ 98963 h 227766"/>
                <a:gd name="connsiteX30" fmla="*/ 164735 w 327509"/>
                <a:gd name="connsiteY30" fmla="*/ 105624 h 227766"/>
                <a:gd name="connsiteX31" fmla="*/ 160927 w 327509"/>
                <a:gd name="connsiteY31" fmla="*/ 105624 h 227766"/>
                <a:gd name="connsiteX32" fmla="*/ 146649 w 327509"/>
                <a:gd name="connsiteY32" fmla="*/ 120849 h 227766"/>
                <a:gd name="connsiteX33" fmla="*/ 91439 w 327509"/>
                <a:gd name="connsiteY33" fmla="*/ 170331 h 227766"/>
                <a:gd name="connsiteX34" fmla="*/ 92391 w 327509"/>
                <a:gd name="connsiteY34" fmla="*/ 170331 h 227766"/>
                <a:gd name="connsiteX35" fmla="*/ 73353 w 327509"/>
                <a:gd name="connsiteY35" fmla="*/ 189362 h 227766"/>
                <a:gd name="connsiteX36" fmla="*/ 60978 w 327509"/>
                <a:gd name="connsiteY36" fmla="*/ 207442 h 227766"/>
                <a:gd name="connsiteX37" fmla="*/ 46699 w 327509"/>
                <a:gd name="connsiteY37" fmla="*/ 222667 h 227766"/>
                <a:gd name="connsiteX38" fmla="*/ 45747 w 327509"/>
                <a:gd name="connsiteY38" fmla="*/ 227425 h 227766"/>
                <a:gd name="connsiteX39" fmla="*/ 55266 w 327509"/>
                <a:gd name="connsiteY39" fmla="*/ 221715 h 227766"/>
                <a:gd name="connsiteX40" fmla="*/ 55266 w 327509"/>
                <a:gd name="connsiteY40" fmla="*/ 221715 h 227766"/>
                <a:gd name="connsiteX41" fmla="*/ 110477 w 327509"/>
                <a:gd name="connsiteY41" fmla="*/ 182701 h 227766"/>
                <a:gd name="connsiteX42" fmla="*/ 146649 w 327509"/>
                <a:gd name="connsiteY42" fmla="*/ 152251 h 227766"/>
                <a:gd name="connsiteX43" fmla="*/ 183773 w 327509"/>
                <a:gd name="connsiteY43" fmla="*/ 118946 h 227766"/>
                <a:gd name="connsiteX44" fmla="*/ 191388 w 327509"/>
                <a:gd name="connsiteY44" fmla="*/ 114188 h 227766"/>
                <a:gd name="connsiteX45" fmla="*/ 226608 w 327509"/>
                <a:gd name="connsiteY45" fmla="*/ 84690 h 227766"/>
                <a:gd name="connsiteX46" fmla="*/ 225657 w 327509"/>
                <a:gd name="connsiteY46" fmla="*/ 84690 h 227766"/>
                <a:gd name="connsiteX47" fmla="*/ 234224 w 327509"/>
                <a:gd name="connsiteY47" fmla="*/ 78029 h 227766"/>
                <a:gd name="connsiteX48" fmla="*/ 238983 w 327509"/>
                <a:gd name="connsiteY48" fmla="*/ 75174 h 227766"/>
                <a:gd name="connsiteX49" fmla="*/ 240887 w 327509"/>
                <a:gd name="connsiteY49" fmla="*/ 73271 h 227766"/>
                <a:gd name="connsiteX50" fmla="*/ 244695 w 327509"/>
                <a:gd name="connsiteY50" fmla="*/ 70416 h 227766"/>
                <a:gd name="connsiteX51" fmla="*/ 246598 w 327509"/>
                <a:gd name="connsiteY51" fmla="*/ 68513 h 227766"/>
                <a:gd name="connsiteX52" fmla="*/ 275155 w 327509"/>
                <a:gd name="connsiteY52" fmla="*/ 43772 h 227766"/>
                <a:gd name="connsiteX53" fmla="*/ 300857 w 327509"/>
                <a:gd name="connsiteY53" fmla="*/ 20934 h 227766"/>
                <a:gd name="connsiteX54" fmla="*/ 302760 w 327509"/>
                <a:gd name="connsiteY54" fmla="*/ 19031 h 227766"/>
                <a:gd name="connsiteX55" fmla="*/ 320847 w 327509"/>
                <a:gd name="connsiteY55" fmla="*/ 5709 h 227766"/>
                <a:gd name="connsiteX56" fmla="*/ 325606 w 327509"/>
                <a:gd name="connsiteY56" fmla="*/ 1903 h 227766"/>
                <a:gd name="connsiteX57" fmla="*/ 326558 w 327509"/>
                <a:gd name="connsiteY57" fmla="*/ 951 h 227766"/>
                <a:gd name="connsiteX58" fmla="*/ 327510 w 327509"/>
                <a:gd name="connsiteY58" fmla="*/ 0 h 227766"/>
                <a:gd name="connsiteX59" fmla="*/ 325606 w 327509"/>
                <a:gd name="connsiteY59" fmla="*/ 0 h 227766"/>
                <a:gd name="connsiteX60" fmla="*/ 318943 w 327509"/>
                <a:gd name="connsiteY60" fmla="*/ 0 h 227766"/>
                <a:gd name="connsiteX61" fmla="*/ 285626 w 327509"/>
                <a:gd name="connsiteY61" fmla="*/ 3806 h 227766"/>
                <a:gd name="connsiteX62" fmla="*/ 265636 w 327509"/>
                <a:gd name="connsiteY62" fmla="*/ 10467 h 227766"/>
                <a:gd name="connsiteX63" fmla="*/ 255165 w 327509"/>
                <a:gd name="connsiteY63" fmla="*/ 13322 h 227766"/>
                <a:gd name="connsiteX64" fmla="*/ 244695 w 327509"/>
                <a:gd name="connsiteY64" fmla="*/ 12370 h 227766"/>
                <a:gd name="connsiteX65" fmla="*/ 243743 w 327509"/>
                <a:gd name="connsiteY65" fmla="*/ 14274 h 227766"/>
                <a:gd name="connsiteX66" fmla="*/ 216138 w 327509"/>
                <a:gd name="connsiteY66" fmla="*/ 19983 h 227766"/>
                <a:gd name="connsiteX67" fmla="*/ 213282 w 327509"/>
                <a:gd name="connsiteY67" fmla="*/ 20934 h 227766"/>
                <a:gd name="connsiteX68" fmla="*/ 211378 w 327509"/>
                <a:gd name="connsiteY68" fmla="*/ 21886 h 227766"/>
                <a:gd name="connsiteX69" fmla="*/ 207570 w 327509"/>
                <a:gd name="connsiteY69" fmla="*/ 22838 h 227766"/>
                <a:gd name="connsiteX70" fmla="*/ 202811 w 327509"/>
                <a:gd name="connsiteY70" fmla="*/ 22838 h 227766"/>
                <a:gd name="connsiteX71" fmla="*/ 192340 w 327509"/>
                <a:gd name="connsiteY71" fmla="*/ 23789 h 227766"/>
                <a:gd name="connsiteX72" fmla="*/ 176158 w 327509"/>
                <a:gd name="connsiteY72" fmla="*/ 28547 h 227766"/>
                <a:gd name="connsiteX73" fmla="*/ 177110 w 327509"/>
                <a:gd name="connsiteY73" fmla="*/ 28547 h 227766"/>
                <a:gd name="connsiteX74" fmla="*/ 159024 w 327509"/>
                <a:gd name="connsiteY74" fmla="*/ 28547 h 227766"/>
                <a:gd name="connsiteX75" fmla="*/ 102861 w 327509"/>
                <a:gd name="connsiteY75" fmla="*/ 37111 h 227766"/>
                <a:gd name="connsiteX76" fmla="*/ 106669 w 327509"/>
                <a:gd name="connsiteY76" fmla="*/ 38063 h 227766"/>
                <a:gd name="connsiteX77" fmla="*/ 76208 w 327509"/>
                <a:gd name="connsiteY77" fmla="*/ 39966 h 227766"/>
                <a:gd name="connsiteX78" fmla="*/ 71449 w 327509"/>
                <a:gd name="connsiteY78" fmla="*/ 39014 h 227766"/>
                <a:gd name="connsiteX79" fmla="*/ 67641 w 327509"/>
                <a:gd name="connsiteY79" fmla="*/ 39966 h 227766"/>
                <a:gd name="connsiteX80" fmla="*/ 66689 w 327509"/>
                <a:gd name="connsiteY80" fmla="*/ 39014 h 227766"/>
                <a:gd name="connsiteX81" fmla="*/ 58122 w 327509"/>
                <a:gd name="connsiteY81" fmla="*/ 39014 h 227766"/>
                <a:gd name="connsiteX82" fmla="*/ 55266 w 327509"/>
                <a:gd name="connsiteY82" fmla="*/ 39966 h 227766"/>
                <a:gd name="connsiteX83" fmla="*/ 51459 w 327509"/>
                <a:gd name="connsiteY83" fmla="*/ 39014 h 227766"/>
                <a:gd name="connsiteX84" fmla="*/ 51459 w 327509"/>
                <a:gd name="connsiteY84" fmla="*/ 39014 h 227766"/>
                <a:gd name="connsiteX85" fmla="*/ 49555 w 327509"/>
                <a:gd name="connsiteY85" fmla="*/ 39014 h 227766"/>
                <a:gd name="connsiteX86" fmla="*/ 35277 w 327509"/>
                <a:gd name="connsiteY86" fmla="*/ 45675 h 227766"/>
                <a:gd name="connsiteX87" fmla="*/ 34325 w 327509"/>
                <a:gd name="connsiteY87" fmla="*/ 45675 h 227766"/>
                <a:gd name="connsiteX88" fmla="*/ 32421 w 327509"/>
                <a:gd name="connsiteY88" fmla="*/ 47578 h 227766"/>
                <a:gd name="connsiteX89" fmla="*/ 30517 w 327509"/>
                <a:gd name="connsiteY89" fmla="*/ 47578 h 227766"/>
                <a:gd name="connsiteX90" fmla="*/ 30517 w 327509"/>
                <a:gd name="connsiteY90" fmla="*/ 47578 h 227766"/>
                <a:gd name="connsiteX91" fmla="*/ 28613 w 327509"/>
                <a:gd name="connsiteY91" fmla="*/ 47578 h 227766"/>
                <a:gd name="connsiteX92" fmla="*/ 28613 w 327509"/>
                <a:gd name="connsiteY92" fmla="*/ 46627 h 227766"/>
                <a:gd name="connsiteX93" fmla="*/ 24806 w 327509"/>
                <a:gd name="connsiteY93" fmla="*/ 47578 h 227766"/>
                <a:gd name="connsiteX94" fmla="*/ 37180 w 327509"/>
                <a:gd name="connsiteY94" fmla="*/ 49482 h 227766"/>
                <a:gd name="connsiteX95" fmla="*/ 31469 w 327509"/>
                <a:gd name="connsiteY95" fmla="*/ 50433 h 227766"/>
                <a:gd name="connsiteX96" fmla="*/ 21950 w 327509"/>
                <a:gd name="connsiteY96" fmla="*/ 49482 h 227766"/>
                <a:gd name="connsiteX97" fmla="*/ 19094 w 327509"/>
                <a:gd name="connsiteY97" fmla="*/ 50433 h 227766"/>
                <a:gd name="connsiteX98" fmla="*/ 16239 w 327509"/>
                <a:gd name="connsiteY98" fmla="*/ 50433 h 227766"/>
                <a:gd name="connsiteX99" fmla="*/ 20998 w 327509"/>
                <a:gd name="connsiteY99" fmla="*/ 49482 h 227766"/>
                <a:gd name="connsiteX100" fmla="*/ 16239 w 327509"/>
                <a:gd name="connsiteY100" fmla="*/ 48530 h 227766"/>
                <a:gd name="connsiteX101" fmla="*/ 10527 w 327509"/>
                <a:gd name="connsiteY101" fmla="*/ 49482 h 227766"/>
                <a:gd name="connsiteX102" fmla="*/ 7672 w 327509"/>
                <a:gd name="connsiteY102" fmla="*/ 48530 h 227766"/>
                <a:gd name="connsiteX103" fmla="*/ 5768 w 327509"/>
                <a:gd name="connsiteY103" fmla="*/ 49482 h 227766"/>
                <a:gd name="connsiteX104" fmla="*/ 9575 w 327509"/>
                <a:gd name="connsiteY104" fmla="*/ 51385 h 227766"/>
                <a:gd name="connsiteX105" fmla="*/ 4816 w 327509"/>
                <a:gd name="connsiteY105" fmla="*/ 51385 h 227766"/>
                <a:gd name="connsiteX106" fmla="*/ 4816 w 327509"/>
                <a:gd name="connsiteY106" fmla="*/ 52336 h 227766"/>
                <a:gd name="connsiteX107" fmla="*/ 1008 w 327509"/>
                <a:gd name="connsiteY107" fmla="*/ 52336 h 227766"/>
                <a:gd name="connsiteX108" fmla="*/ 1960 w 327509"/>
                <a:gd name="connsiteY108" fmla="*/ 52336 h 227766"/>
                <a:gd name="connsiteX109" fmla="*/ 9575 w 327509"/>
                <a:gd name="connsiteY109" fmla="*/ 47578 h 227766"/>
                <a:gd name="connsiteX110" fmla="*/ 56 w 327509"/>
                <a:gd name="connsiteY110" fmla="*/ 52336 h 227766"/>
                <a:gd name="connsiteX111" fmla="*/ 1008 w 327509"/>
                <a:gd name="connsiteY111" fmla="*/ 54239 h 227766"/>
                <a:gd name="connsiteX112" fmla="*/ 1960 w 327509"/>
                <a:gd name="connsiteY112" fmla="*/ 53288 h 227766"/>
                <a:gd name="connsiteX113" fmla="*/ 3864 w 327509"/>
                <a:gd name="connsiteY113" fmla="*/ 55191 h 227766"/>
                <a:gd name="connsiteX114" fmla="*/ 9575 w 327509"/>
                <a:gd name="connsiteY114" fmla="*/ 50433 h 227766"/>
                <a:gd name="connsiteX115" fmla="*/ 10527 w 327509"/>
                <a:gd name="connsiteY115" fmla="*/ 50433 h 227766"/>
                <a:gd name="connsiteX116" fmla="*/ 5768 w 327509"/>
                <a:gd name="connsiteY116" fmla="*/ 51385 h 227766"/>
                <a:gd name="connsiteX117" fmla="*/ 2912 w 327509"/>
                <a:gd name="connsiteY117" fmla="*/ 53288 h 227766"/>
                <a:gd name="connsiteX118" fmla="*/ 2912 w 327509"/>
                <a:gd name="connsiteY118" fmla="*/ 53288 h 227766"/>
                <a:gd name="connsiteX119" fmla="*/ 1008 w 327509"/>
                <a:gd name="connsiteY119" fmla="*/ 54239 h 227766"/>
                <a:gd name="connsiteX120" fmla="*/ 3864 w 327509"/>
                <a:gd name="connsiteY120" fmla="*/ 61852 h 227766"/>
                <a:gd name="connsiteX121" fmla="*/ 7672 w 327509"/>
                <a:gd name="connsiteY121" fmla="*/ 59949 h 227766"/>
                <a:gd name="connsiteX122" fmla="*/ 11479 w 327509"/>
                <a:gd name="connsiteY122" fmla="*/ 61852 h 227766"/>
                <a:gd name="connsiteX123" fmla="*/ 12431 w 327509"/>
                <a:gd name="connsiteY123" fmla="*/ 60900 h 227766"/>
                <a:gd name="connsiteX124" fmla="*/ 15287 w 327509"/>
                <a:gd name="connsiteY124" fmla="*/ 61852 h 227766"/>
                <a:gd name="connsiteX125" fmla="*/ 19094 w 327509"/>
                <a:gd name="connsiteY125" fmla="*/ 61852 h 227766"/>
                <a:gd name="connsiteX126" fmla="*/ 20046 w 327509"/>
                <a:gd name="connsiteY126" fmla="*/ 60900 h 227766"/>
                <a:gd name="connsiteX127" fmla="*/ 27661 w 327509"/>
                <a:gd name="connsiteY127" fmla="*/ 60900 h 227766"/>
                <a:gd name="connsiteX128" fmla="*/ 29565 w 327509"/>
                <a:gd name="connsiteY128" fmla="*/ 63755 h 227766"/>
                <a:gd name="connsiteX129" fmla="*/ 26709 w 327509"/>
                <a:gd name="connsiteY129" fmla="*/ 61852 h 227766"/>
                <a:gd name="connsiteX130" fmla="*/ 22902 w 327509"/>
                <a:gd name="connsiteY130" fmla="*/ 63755 h 227766"/>
                <a:gd name="connsiteX131" fmla="*/ 28613 w 327509"/>
                <a:gd name="connsiteY131" fmla="*/ 63755 h 227766"/>
                <a:gd name="connsiteX132" fmla="*/ 28613 w 327509"/>
                <a:gd name="connsiteY132" fmla="*/ 63755 h 227766"/>
                <a:gd name="connsiteX133" fmla="*/ 35277 w 327509"/>
                <a:gd name="connsiteY133" fmla="*/ 63755 h 227766"/>
                <a:gd name="connsiteX134" fmla="*/ 34325 w 327509"/>
                <a:gd name="connsiteY134" fmla="*/ 64707 h 227766"/>
                <a:gd name="connsiteX135" fmla="*/ 37180 w 327509"/>
                <a:gd name="connsiteY135" fmla="*/ 64707 h 227766"/>
                <a:gd name="connsiteX136" fmla="*/ 37180 w 327509"/>
                <a:gd name="connsiteY136" fmla="*/ 63755 h 227766"/>
                <a:gd name="connsiteX137" fmla="*/ 40036 w 327509"/>
                <a:gd name="connsiteY137" fmla="*/ 63755 h 227766"/>
                <a:gd name="connsiteX138" fmla="*/ 52411 w 327509"/>
                <a:gd name="connsiteY138" fmla="*/ 59949 h 227766"/>
                <a:gd name="connsiteX139" fmla="*/ 56218 w 327509"/>
                <a:gd name="connsiteY139" fmla="*/ 59949 h 227766"/>
                <a:gd name="connsiteX140" fmla="*/ 42892 w 327509"/>
                <a:gd name="connsiteY140" fmla="*/ 63755 h 227766"/>
                <a:gd name="connsiteX141" fmla="*/ 62882 w 327509"/>
                <a:gd name="connsiteY141" fmla="*/ 58997 h 227766"/>
                <a:gd name="connsiteX142" fmla="*/ 64785 w 327509"/>
                <a:gd name="connsiteY142" fmla="*/ 58046 h 227766"/>
                <a:gd name="connsiteX143" fmla="*/ 65737 w 327509"/>
                <a:gd name="connsiteY143" fmla="*/ 59949 h 227766"/>
                <a:gd name="connsiteX144" fmla="*/ 65737 w 327509"/>
                <a:gd name="connsiteY144" fmla="*/ 59949 h 227766"/>
                <a:gd name="connsiteX145" fmla="*/ 67641 w 327509"/>
                <a:gd name="connsiteY145" fmla="*/ 60900 h 227766"/>
                <a:gd name="connsiteX146" fmla="*/ 79064 w 327509"/>
                <a:gd name="connsiteY146" fmla="*/ 58046 h 227766"/>
                <a:gd name="connsiteX147" fmla="*/ 75256 w 327509"/>
                <a:gd name="connsiteY147" fmla="*/ 60900 h 227766"/>
                <a:gd name="connsiteX148" fmla="*/ 75256 w 327509"/>
                <a:gd name="connsiteY148" fmla="*/ 60900 h 227766"/>
                <a:gd name="connsiteX149" fmla="*/ 73353 w 327509"/>
                <a:gd name="connsiteY149" fmla="*/ 61852 h 227766"/>
                <a:gd name="connsiteX150" fmla="*/ 79064 w 327509"/>
                <a:gd name="connsiteY150" fmla="*/ 60900 h 227766"/>
                <a:gd name="connsiteX151" fmla="*/ 80016 w 327509"/>
                <a:gd name="connsiteY151" fmla="*/ 60900 h 227766"/>
                <a:gd name="connsiteX152" fmla="*/ 80016 w 327509"/>
                <a:gd name="connsiteY152" fmla="*/ 60900 h 227766"/>
                <a:gd name="connsiteX153" fmla="*/ 80968 w 327509"/>
                <a:gd name="connsiteY153" fmla="*/ 61852 h 227766"/>
                <a:gd name="connsiteX154" fmla="*/ 80968 w 327509"/>
                <a:gd name="connsiteY154" fmla="*/ 61852 h 227766"/>
                <a:gd name="connsiteX155" fmla="*/ 93342 w 327509"/>
                <a:gd name="connsiteY155" fmla="*/ 59949 h 227766"/>
                <a:gd name="connsiteX156" fmla="*/ 94294 w 327509"/>
                <a:gd name="connsiteY156" fmla="*/ 58997 h 227766"/>
                <a:gd name="connsiteX157" fmla="*/ 105717 w 327509"/>
                <a:gd name="connsiteY157" fmla="*/ 58997 h 227766"/>
                <a:gd name="connsiteX158" fmla="*/ 104765 w 327509"/>
                <a:gd name="connsiteY158" fmla="*/ 57094 h 227766"/>
                <a:gd name="connsiteX159" fmla="*/ 107621 w 327509"/>
                <a:gd name="connsiteY159" fmla="*/ 57094 h 227766"/>
                <a:gd name="connsiteX160" fmla="*/ 111429 w 327509"/>
                <a:gd name="connsiteY160" fmla="*/ 60900 h 227766"/>
                <a:gd name="connsiteX161" fmla="*/ 116188 w 327509"/>
                <a:gd name="connsiteY161" fmla="*/ 60900 h 227766"/>
                <a:gd name="connsiteX162" fmla="*/ 119044 w 327509"/>
                <a:gd name="connsiteY162" fmla="*/ 58997 h 227766"/>
                <a:gd name="connsiteX163" fmla="*/ 123803 w 327509"/>
                <a:gd name="connsiteY163" fmla="*/ 58997 h 227766"/>
                <a:gd name="connsiteX164" fmla="*/ 123803 w 327509"/>
                <a:gd name="connsiteY164" fmla="*/ 60900 h 227766"/>
                <a:gd name="connsiteX165" fmla="*/ 131418 w 327509"/>
                <a:gd name="connsiteY165" fmla="*/ 60900 h 227766"/>
                <a:gd name="connsiteX166" fmla="*/ 138082 w 327509"/>
                <a:gd name="connsiteY166" fmla="*/ 58046 h 227766"/>
                <a:gd name="connsiteX167" fmla="*/ 139034 w 327509"/>
                <a:gd name="connsiteY167" fmla="*/ 58997 h 22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27509" h="227766">
                  <a:moveTo>
                    <a:pt x="139034" y="58997"/>
                  </a:moveTo>
                  <a:lnTo>
                    <a:pt x="141889" y="58997"/>
                  </a:lnTo>
                  <a:cubicBezTo>
                    <a:pt x="133322" y="60900"/>
                    <a:pt x="124755" y="60900"/>
                    <a:pt x="116188" y="61852"/>
                  </a:cubicBezTo>
                  <a:cubicBezTo>
                    <a:pt x="135226" y="63755"/>
                    <a:pt x="158072" y="63755"/>
                    <a:pt x="170446" y="51385"/>
                  </a:cubicBezTo>
                  <a:cubicBezTo>
                    <a:pt x="173302" y="56143"/>
                    <a:pt x="191388" y="55191"/>
                    <a:pt x="191388" y="54239"/>
                  </a:cubicBezTo>
                  <a:cubicBezTo>
                    <a:pt x="195196" y="52336"/>
                    <a:pt x="199003" y="51385"/>
                    <a:pt x="201859" y="50433"/>
                  </a:cubicBezTo>
                  <a:cubicBezTo>
                    <a:pt x="199003" y="51385"/>
                    <a:pt x="197100" y="52336"/>
                    <a:pt x="194244" y="53288"/>
                  </a:cubicBezTo>
                  <a:cubicBezTo>
                    <a:pt x="197100" y="52336"/>
                    <a:pt x="199003" y="51385"/>
                    <a:pt x="201859" y="50433"/>
                  </a:cubicBezTo>
                  <a:cubicBezTo>
                    <a:pt x="204715" y="49482"/>
                    <a:pt x="207570" y="48530"/>
                    <a:pt x="210426" y="47578"/>
                  </a:cubicBezTo>
                  <a:cubicBezTo>
                    <a:pt x="213282" y="46627"/>
                    <a:pt x="217089" y="45675"/>
                    <a:pt x="218041" y="45675"/>
                  </a:cubicBezTo>
                  <a:cubicBezTo>
                    <a:pt x="219945" y="44724"/>
                    <a:pt x="222801" y="44724"/>
                    <a:pt x="224705" y="43772"/>
                  </a:cubicBezTo>
                  <a:cubicBezTo>
                    <a:pt x="228512" y="42821"/>
                    <a:pt x="231368" y="43772"/>
                    <a:pt x="231368" y="44724"/>
                  </a:cubicBezTo>
                  <a:lnTo>
                    <a:pt x="231368" y="44724"/>
                  </a:lnTo>
                  <a:cubicBezTo>
                    <a:pt x="231368" y="44724"/>
                    <a:pt x="232320" y="44724"/>
                    <a:pt x="230416" y="45675"/>
                  </a:cubicBezTo>
                  <a:cubicBezTo>
                    <a:pt x="228512" y="46627"/>
                    <a:pt x="227560" y="47578"/>
                    <a:pt x="225657" y="48530"/>
                  </a:cubicBezTo>
                  <a:cubicBezTo>
                    <a:pt x="222801" y="50433"/>
                    <a:pt x="220897" y="51385"/>
                    <a:pt x="219945" y="51385"/>
                  </a:cubicBezTo>
                  <a:lnTo>
                    <a:pt x="218993" y="51385"/>
                  </a:lnTo>
                  <a:cubicBezTo>
                    <a:pt x="219945" y="51385"/>
                    <a:pt x="219945" y="51385"/>
                    <a:pt x="219945" y="51385"/>
                  </a:cubicBezTo>
                  <a:cubicBezTo>
                    <a:pt x="220897" y="51385"/>
                    <a:pt x="220897" y="52336"/>
                    <a:pt x="220897" y="53288"/>
                  </a:cubicBezTo>
                  <a:lnTo>
                    <a:pt x="220897" y="53288"/>
                  </a:lnTo>
                  <a:lnTo>
                    <a:pt x="219945" y="54239"/>
                  </a:lnTo>
                  <a:lnTo>
                    <a:pt x="218041" y="56143"/>
                  </a:lnTo>
                  <a:cubicBezTo>
                    <a:pt x="216138" y="58046"/>
                    <a:pt x="215186" y="58997"/>
                    <a:pt x="213282" y="60900"/>
                  </a:cubicBezTo>
                  <a:cubicBezTo>
                    <a:pt x="215186" y="60900"/>
                    <a:pt x="215186" y="60900"/>
                    <a:pt x="218993" y="59949"/>
                  </a:cubicBezTo>
                  <a:lnTo>
                    <a:pt x="215186" y="61852"/>
                  </a:lnTo>
                  <a:cubicBezTo>
                    <a:pt x="213282" y="65658"/>
                    <a:pt x="206619" y="71368"/>
                    <a:pt x="203763" y="75174"/>
                  </a:cubicBezTo>
                  <a:cubicBezTo>
                    <a:pt x="203763" y="74222"/>
                    <a:pt x="200907" y="76126"/>
                    <a:pt x="199003" y="77077"/>
                  </a:cubicBezTo>
                  <a:lnTo>
                    <a:pt x="199955" y="77077"/>
                  </a:lnTo>
                  <a:cubicBezTo>
                    <a:pt x="191388" y="83738"/>
                    <a:pt x="181869" y="92302"/>
                    <a:pt x="174254" y="98011"/>
                  </a:cubicBezTo>
                  <a:cubicBezTo>
                    <a:pt x="173302" y="98963"/>
                    <a:pt x="172350" y="98963"/>
                    <a:pt x="171398" y="98963"/>
                  </a:cubicBezTo>
                  <a:lnTo>
                    <a:pt x="164735" y="105624"/>
                  </a:lnTo>
                  <a:cubicBezTo>
                    <a:pt x="164735" y="103721"/>
                    <a:pt x="158072" y="109430"/>
                    <a:pt x="160927" y="105624"/>
                  </a:cubicBezTo>
                  <a:cubicBezTo>
                    <a:pt x="156168" y="111334"/>
                    <a:pt x="150456" y="115140"/>
                    <a:pt x="146649" y="120849"/>
                  </a:cubicBezTo>
                  <a:cubicBezTo>
                    <a:pt x="127611" y="136074"/>
                    <a:pt x="108573" y="153203"/>
                    <a:pt x="91439" y="170331"/>
                  </a:cubicBezTo>
                  <a:lnTo>
                    <a:pt x="92391" y="170331"/>
                  </a:lnTo>
                  <a:cubicBezTo>
                    <a:pt x="86679" y="176992"/>
                    <a:pt x="81920" y="183653"/>
                    <a:pt x="73353" y="189362"/>
                  </a:cubicBezTo>
                  <a:cubicBezTo>
                    <a:pt x="68593" y="196023"/>
                    <a:pt x="60978" y="203636"/>
                    <a:pt x="60978" y="207442"/>
                  </a:cubicBezTo>
                  <a:cubicBezTo>
                    <a:pt x="54315" y="213151"/>
                    <a:pt x="52411" y="216958"/>
                    <a:pt x="46699" y="222667"/>
                  </a:cubicBezTo>
                  <a:cubicBezTo>
                    <a:pt x="49555" y="222667"/>
                    <a:pt x="41940" y="229328"/>
                    <a:pt x="45747" y="227425"/>
                  </a:cubicBezTo>
                  <a:cubicBezTo>
                    <a:pt x="51459" y="225522"/>
                    <a:pt x="50507" y="223619"/>
                    <a:pt x="55266" y="221715"/>
                  </a:cubicBezTo>
                  <a:lnTo>
                    <a:pt x="55266" y="221715"/>
                  </a:lnTo>
                  <a:cubicBezTo>
                    <a:pt x="74304" y="209345"/>
                    <a:pt x="92391" y="196023"/>
                    <a:pt x="110477" y="182701"/>
                  </a:cubicBezTo>
                  <a:cubicBezTo>
                    <a:pt x="121899" y="172234"/>
                    <a:pt x="135226" y="162718"/>
                    <a:pt x="146649" y="152251"/>
                  </a:cubicBezTo>
                  <a:cubicBezTo>
                    <a:pt x="159024" y="140832"/>
                    <a:pt x="173302" y="128462"/>
                    <a:pt x="183773" y="118946"/>
                  </a:cubicBezTo>
                  <a:cubicBezTo>
                    <a:pt x="186629" y="116091"/>
                    <a:pt x="188532" y="116091"/>
                    <a:pt x="191388" y="114188"/>
                  </a:cubicBezTo>
                  <a:cubicBezTo>
                    <a:pt x="200907" y="105624"/>
                    <a:pt x="215186" y="95157"/>
                    <a:pt x="226608" y="84690"/>
                  </a:cubicBezTo>
                  <a:cubicBezTo>
                    <a:pt x="226608" y="84690"/>
                    <a:pt x="226608" y="84690"/>
                    <a:pt x="225657" y="84690"/>
                  </a:cubicBezTo>
                  <a:cubicBezTo>
                    <a:pt x="228512" y="81835"/>
                    <a:pt x="231368" y="79932"/>
                    <a:pt x="234224" y="78029"/>
                  </a:cubicBezTo>
                  <a:lnTo>
                    <a:pt x="238983" y="75174"/>
                  </a:lnTo>
                  <a:lnTo>
                    <a:pt x="240887" y="73271"/>
                  </a:lnTo>
                  <a:cubicBezTo>
                    <a:pt x="241839" y="72319"/>
                    <a:pt x="243743" y="71368"/>
                    <a:pt x="244695" y="70416"/>
                  </a:cubicBezTo>
                  <a:cubicBezTo>
                    <a:pt x="244695" y="70416"/>
                    <a:pt x="245646" y="68513"/>
                    <a:pt x="246598" y="68513"/>
                  </a:cubicBezTo>
                  <a:cubicBezTo>
                    <a:pt x="248502" y="68513"/>
                    <a:pt x="262781" y="55191"/>
                    <a:pt x="275155" y="43772"/>
                  </a:cubicBezTo>
                  <a:cubicBezTo>
                    <a:pt x="287530" y="32353"/>
                    <a:pt x="297049" y="22838"/>
                    <a:pt x="300857" y="20934"/>
                  </a:cubicBezTo>
                  <a:lnTo>
                    <a:pt x="302760" y="19031"/>
                  </a:lnTo>
                  <a:cubicBezTo>
                    <a:pt x="308472" y="15225"/>
                    <a:pt x="314183" y="10467"/>
                    <a:pt x="320847" y="5709"/>
                  </a:cubicBezTo>
                  <a:lnTo>
                    <a:pt x="325606" y="1903"/>
                  </a:lnTo>
                  <a:lnTo>
                    <a:pt x="326558" y="951"/>
                  </a:lnTo>
                  <a:lnTo>
                    <a:pt x="327510" y="0"/>
                  </a:lnTo>
                  <a:lnTo>
                    <a:pt x="325606" y="0"/>
                  </a:lnTo>
                  <a:cubicBezTo>
                    <a:pt x="323702" y="0"/>
                    <a:pt x="320847" y="0"/>
                    <a:pt x="318943" y="0"/>
                  </a:cubicBezTo>
                  <a:cubicBezTo>
                    <a:pt x="309424" y="951"/>
                    <a:pt x="298001" y="1903"/>
                    <a:pt x="285626" y="3806"/>
                  </a:cubicBezTo>
                  <a:cubicBezTo>
                    <a:pt x="278963" y="5709"/>
                    <a:pt x="271348" y="7612"/>
                    <a:pt x="265636" y="10467"/>
                  </a:cubicBezTo>
                  <a:cubicBezTo>
                    <a:pt x="262781" y="10467"/>
                    <a:pt x="259925" y="12370"/>
                    <a:pt x="255165" y="13322"/>
                  </a:cubicBezTo>
                  <a:cubicBezTo>
                    <a:pt x="251358" y="11419"/>
                    <a:pt x="246598" y="12370"/>
                    <a:pt x="244695" y="12370"/>
                  </a:cubicBezTo>
                  <a:cubicBezTo>
                    <a:pt x="241839" y="13322"/>
                    <a:pt x="240887" y="14274"/>
                    <a:pt x="243743" y="14274"/>
                  </a:cubicBezTo>
                  <a:cubicBezTo>
                    <a:pt x="233272" y="17128"/>
                    <a:pt x="224705" y="18080"/>
                    <a:pt x="216138" y="19983"/>
                  </a:cubicBezTo>
                  <a:lnTo>
                    <a:pt x="213282" y="20934"/>
                  </a:lnTo>
                  <a:lnTo>
                    <a:pt x="211378" y="21886"/>
                  </a:lnTo>
                  <a:cubicBezTo>
                    <a:pt x="210426" y="21886"/>
                    <a:pt x="208522" y="22838"/>
                    <a:pt x="207570" y="22838"/>
                  </a:cubicBezTo>
                  <a:cubicBezTo>
                    <a:pt x="205667" y="23789"/>
                    <a:pt x="203763" y="22838"/>
                    <a:pt x="202811" y="22838"/>
                  </a:cubicBezTo>
                  <a:cubicBezTo>
                    <a:pt x="197100" y="24741"/>
                    <a:pt x="199003" y="22838"/>
                    <a:pt x="192340" y="23789"/>
                  </a:cubicBezTo>
                  <a:cubicBezTo>
                    <a:pt x="190436" y="22838"/>
                    <a:pt x="178062" y="28547"/>
                    <a:pt x="176158" y="28547"/>
                  </a:cubicBezTo>
                  <a:lnTo>
                    <a:pt x="177110" y="28547"/>
                  </a:lnTo>
                  <a:cubicBezTo>
                    <a:pt x="170446" y="29499"/>
                    <a:pt x="165687" y="27595"/>
                    <a:pt x="159024" y="28547"/>
                  </a:cubicBezTo>
                  <a:cubicBezTo>
                    <a:pt x="139986" y="30450"/>
                    <a:pt x="119996" y="35208"/>
                    <a:pt x="102861" y="37111"/>
                  </a:cubicBezTo>
                  <a:cubicBezTo>
                    <a:pt x="102861" y="39014"/>
                    <a:pt x="106669" y="36160"/>
                    <a:pt x="106669" y="38063"/>
                  </a:cubicBezTo>
                  <a:cubicBezTo>
                    <a:pt x="96198" y="39014"/>
                    <a:pt x="85727" y="39014"/>
                    <a:pt x="76208" y="39966"/>
                  </a:cubicBezTo>
                  <a:cubicBezTo>
                    <a:pt x="74304" y="39966"/>
                    <a:pt x="72401" y="39014"/>
                    <a:pt x="71449" y="39014"/>
                  </a:cubicBezTo>
                  <a:cubicBezTo>
                    <a:pt x="68593" y="39014"/>
                    <a:pt x="69545" y="39966"/>
                    <a:pt x="67641" y="39966"/>
                  </a:cubicBezTo>
                  <a:lnTo>
                    <a:pt x="66689" y="39014"/>
                  </a:lnTo>
                  <a:cubicBezTo>
                    <a:pt x="62882" y="40917"/>
                    <a:pt x="60978" y="38063"/>
                    <a:pt x="58122" y="39014"/>
                  </a:cubicBezTo>
                  <a:cubicBezTo>
                    <a:pt x="58122" y="39966"/>
                    <a:pt x="57170" y="39966"/>
                    <a:pt x="55266" y="39966"/>
                  </a:cubicBezTo>
                  <a:cubicBezTo>
                    <a:pt x="55266" y="39014"/>
                    <a:pt x="51459" y="40917"/>
                    <a:pt x="51459" y="39014"/>
                  </a:cubicBezTo>
                  <a:lnTo>
                    <a:pt x="51459" y="39014"/>
                  </a:lnTo>
                  <a:cubicBezTo>
                    <a:pt x="50507" y="39014"/>
                    <a:pt x="50507" y="39014"/>
                    <a:pt x="49555" y="39014"/>
                  </a:cubicBezTo>
                  <a:cubicBezTo>
                    <a:pt x="48603" y="39966"/>
                    <a:pt x="36228" y="44724"/>
                    <a:pt x="35277" y="45675"/>
                  </a:cubicBezTo>
                  <a:lnTo>
                    <a:pt x="34325" y="45675"/>
                  </a:lnTo>
                  <a:cubicBezTo>
                    <a:pt x="32421" y="45675"/>
                    <a:pt x="31469" y="46627"/>
                    <a:pt x="32421" y="47578"/>
                  </a:cubicBezTo>
                  <a:lnTo>
                    <a:pt x="30517" y="47578"/>
                  </a:lnTo>
                  <a:lnTo>
                    <a:pt x="30517" y="47578"/>
                  </a:lnTo>
                  <a:lnTo>
                    <a:pt x="28613" y="47578"/>
                  </a:lnTo>
                  <a:cubicBezTo>
                    <a:pt x="28613" y="47578"/>
                    <a:pt x="27661" y="46627"/>
                    <a:pt x="28613" y="46627"/>
                  </a:cubicBezTo>
                  <a:cubicBezTo>
                    <a:pt x="27661" y="47578"/>
                    <a:pt x="25758" y="47578"/>
                    <a:pt x="24806" y="47578"/>
                  </a:cubicBezTo>
                  <a:cubicBezTo>
                    <a:pt x="28613" y="48530"/>
                    <a:pt x="33373" y="48530"/>
                    <a:pt x="37180" y="49482"/>
                  </a:cubicBezTo>
                  <a:cubicBezTo>
                    <a:pt x="35277" y="50433"/>
                    <a:pt x="32421" y="49482"/>
                    <a:pt x="31469" y="50433"/>
                  </a:cubicBezTo>
                  <a:cubicBezTo>
                    <a:pt x="29565" y="49482"/>
                    <a:pt x="24806" y="49482"/>
                    <a:pt x="21950" y="49482"/>
                  </a:cubicBezTo>
                  <a:cubicBezTo>
                    <a:pt x="20998" y="49482"/>
                    <a:pt x="20998" y="51385"/>
                    <a:pt x="19094" y="50433"/>
                  </a:cubicBezTo>
                  <a:cubicBezTo>
                    <a:pt x="18142" y="49482"/>
                    <a:pt x="17191" y="50433"/>
                    <a:pt x="16239" y="50433"/>
                  </a:cubicBezTo>
                  <a:cubicBezTo>
                    <a:pt x="18142" y="49482"/>
                    <a:pt x="19094" y="49482"/>
                    <a:pt x="20998" y="49482"/>
                  </a:cubicBezTo>
                  <a:cubicBezTo>
                    <a:pt x="20998" y="48530"/>
                    <a:pt x="17191" y="48530"/>
                    <a:pt x="16239" y="48530"/>
                  </a:cubicBezTo>
                  <a:cubicBezTo>
                    <a:pt x="15287" y="48530"/>
                    <a:pt x="12431" y="48530"/>
                    <a:pt x="10527" y="49482"/>
                  </a:cubicBezTo>
                  <a:cubicBezTo>
                    <a:pt x="11479" y="48530"/>
                    <a:pt x="8623" y="48530"/>
                    <a:pt x="7672" y="48530"/>
                  </a:cubicBezTo>
                  <a:cubicBezTo>
                    <a:pt x="6720" y="48530"/>
                    <a:pt x="5768" y="49482"/>
                    <a:pt x="5768" y="49482"/>
                  </a:cubicBezTo>
                  <a:cubicBezTo>
                    <a:pt x="5768" y="50433"/>
                    <a:pt x="10527" y="49482"/>
                    <a:pt x="9575" y="51385"/>
                  </a:cubicBezTo>
                  <a:cubicBezTo>
                    <a:pt x="8623" y="50433"/>
                    <a:pt x="6720" y="51385"/>
                    <a:pt x="4816" y="51385"/>
                  </a:cubicBezTo>
                  <a:cubicBezTo>
                    <a:pt x="4816" y="52336"/>
                    <a:pt x="5768" y="52336"/>
                    <a:pt x="4816" y="52336"/>
                  </a:cubicBezTo>
                  <a:cubicBezTo>
                    <a:pt x="2912" y="52336"/>
                    <a:pt x="1960" y="53288"/>
                    <a:pt x="1008" y="52336"/>
                  </a:cubicBezTo>
                  <a:lnTo>
                    <a:pt x="1960" y="52336"/>
                  </a:lnTo>
                  <a:cubicBezTo>
                    <a:pt x="56" y="52336"/>
                    <a:pt x="12431" y="46627"/>
                    <a:pt x="9575" y="47578"/>
                  </a:cubicBezTo>
                  <a:cubicBezTo>
                    <a:pt x="10527" y="48530"/>
                    <a:pt x="-896" y="53288"/>
                    <a:pt x="56" y="52336"/>
                  </a:cubicBezTo>
                  <a:cubicBezTo>
                    <a:pt x="1008" y="52336"/>
                    <a:pt x="-896" y="53288"/>
                    <a:pt x="1008" y="54239"/>
                  </a:cubicBezTo>
                  <a:lnTo>
                    <a:pt x="1960" y="53288"/>
                  </a:lnTo>
                  <a:cubicBezTo>
                    <a:pt x="3864" y="53288"/>
                    <a:pt x="4816" y="54239"/>
                    <a:pt x="3864" y="55191"/>
                  </a:cubicBezTo>
                  <a:cubicBezTo>
                    <a:pt x="1008" y="55191"/>
                    <a:pt x="11479" y="49482"/>
                    <a:pt x="9575" y="50433"/>
                  </a:cubicBezTo>
                  <a:lnTo>
                    <a:pt x="10527" y="50433"/>
                  </a:lnTo>
                  <a:cubicBezTo>
                    <a:pt x="9575" y="51385"/>
                    <a:pt x="6720" y="51385"/>
                    <a:pt x="5768" y="51385"/>
                  </a:cubicBezTo>
                  <a:cubicBezTo>
                    <a:pt x="5768" y="52336"/>
                    <a:pt x="4816" y="52336"/>
                    <a:pt x="2912" y="53288"/>
                  </a:cubicBezTo>
                  <a:lnTo>
                    <a:pt x="2912" y="53288"/>
                  </a:lnTo>
                  <a:cubicBezTo>
                    <a:pt x="1960" y="53288"/>
                    <a:pt x="56" y="53288"/>
                    <a:pt x="1008" y="54239"/>
                  </a:cubicBezTo>
                  <a:cubicBezTo>
                    <a:pt x="7672" y="53288"/>
                    <a:pt x="-2799" y="61852"/>
                    <a:pt x="3864" y="61852"/>
                  </a:cubicBezTo>
                  <a:cubicBezTo>
                    <a:pt x="1008" y="60900"/>
                    <a:pt x="4816" y="59949"/>
                    <a:pt x="7672" y="59949"/>
                  </a:cubicBezTo>
                  <a:cubicBezTo>
                    <a:pt x="7672" y="60900"/>
                    <a:pt x="9575" y="60900"/>
                    <a:pt x="11479" y="61852"/>
                  </a:cubicBezTo>
                  <a:cubicBezTo>
                    <a:pt x="13383" y="61852"/>
                    <a:pt x="12431" y="60900"/>
                    <a:pt x="12431" y="60900"/>
                  </a:cubicBezTo>
                  <a:cubicBezTo>
                    <a:pt x="13383" y="60900"/>
                    <a:pt x="15287" y="60900"/>
                    <a:pt x="15287" y="61852"/>
                  </a:cubicBezTo>
                  <a:cubicBezTo>
                    <a:pt x="16239" y="60900"/>
                    <a:pt x="17191" y="61852"/>
                    <a:pt x="19094" y="61852"/>
                  </a:cubicBezTo>
                  <a:cubicBezTo>
                    <a:pt x="20998" y="60900"/>
                    <a:pt x="19094" y="61852"/>
                    <a:pt x="20046" y="60900"/>
                  </a:cubicBezTo>
                  <a:cubicBezTo>
                    <a:pt x="21950" y="60900"/>
                    <a:pt x="25758" y="60900"/>
                    <a:pt x="27661" y="60900"/>
                  </a:cubicBezTo>
                  <a:cubicBezTo>
                    <a:pt x="28613" y="61852"/>
                    <a:pt x="30517" y="62803"/>
                    <a:pt x="29565" y="63755"/>
                  </a:cubicBezTo>
                  <a:cubicBezTo>
                    <a:pt x="25758" y="63755"/>
                    <a:pt x="30517" y="61852"/>
                    <a:pt x="26709" y="61852"/>
                  </a:cubicBezTo>
                  <a:cubicBezTo>
                    <a:pt x="28613" y="63755"/>
                    <a:pt x="23854" y="62803"/>
                    <a:pt x="22902" y="63755"/>
                  </a:cubicBezTo>
                  <a:cubicBezTo>
                    <a:pt x="23854" y="64707"/>
                    <a:pt x="26709" y="63755"/>
                    <a:pt x="28613" y="63755"/>
                  </a:cubicBezTo>
                  <a:lnTo>
                    <a:pt x="28613" y="63755"/>
                  </a:lnTo>
                  <a:cubicBezTo>
                    <a:pt x="30517" y="63755"/>
                    <a:pt x="33373" y="62803"/>
                    <a:pt x="35277" y="63755"/>
                  </a:cubicBezTo>
                  <a:cubicBezTo>
                    <a:pt x="35277" y="64707"/>
                    <a:pt x="36228" y="64707"/>
                    <a:pt x="34325" y="64707"/>
                  </a:cubicBezTo>
                  <a:lnTo>
                    <a:pt x="37180" y="64707"/>
                  </a:lnTo>
                  <a:cubicBezTo>
                    <a:pt x="37180" y="64707"/>
                    <a:pt x="38132" y="64707"/>
                    <a:pt x="37180" y="63755"/>
                  </a:cubicBezTo>
                  <a:cubicBezTo>
                    <a:pt x="38132" y="62803"/>
                    <a:pt x="39084" y="63755"/>
                    <a:pt x="40036" y="63755"/>
                  </a:cubicBezTo>
                  <a:cubicBezTo>
                    <a:pt x="40036" y="64707"/>
                    <a:pt x="52411" y="58997"/>
                    <a:pt x="52411" y="59949"/>
                  </a:cubicBezTo>
                  <a:cubicBezTo>
                    <a:pt x="54315" y="59949"/>
                    <a:pt x="54315" y="60900"/>
                    <a:pt x="56218" y="59949"/>
                  </a:cubicBezTo>
                  <a:cubicBezTo>
                    <a:pt x="56218" y="58997"/>
                    <a:pt x="40036" y="63755"/>
                    <a:pt x="42892" y="63755"/>
                  </a:cubicBezTo>
                  <a:cubicBezTo>
                    <a:pt x="44796" y="64707"/>
                    <a:pt x="61930" y="58046"/>
                    <a:pt x="62882" y="58997"/>
                  </a:cubicBezTo>
                  <a:cubicBezTo>
                    <a:pt x="63834" y="58997"/>
                    <a:pt x="65737" y="58046"/>
                    <a:pt x="64785" y="58046"/>
                  </a:cubicBezTo>
                  <a:cubicBezTo>
                    <a:pt x="66689" y="58046"/>
                    <a:pt x="64785" y="58997"/>
                    <a:pt x="65737" y="59949"/>
                  </a:cubicBezTo>
                  <a:lnTo>
                    <a:pt x="65737" y="59949"/>
                  </a:lnTo>
                  <a:lnTo>
                    <a:pt x="67641" y="60900"/>
                  </a:lnTo>
                  <a:cubicBezTo>
                    <a:pt x="70497" y="58997"/>
                    <a:pt x="76208" y="59949"/>
                    <a:pt x="79064" y="58046"/>
                  </a:cubicBezTo>
                  <a:cubicBezTo>
                    <a:pt x="78112" y="58997"/>
                    <a:pt x="77160" y="59949"/>
                    <a:pt x="75256" y="60900"/>
                  </a:cubicBezTo>
                  <a:lnTo>
                    <a:pt x="75256" y="60900"/>
                  </a:lnTo>
                  <a:lnTo>
                    <a:pt x="73353" y="61852"/>
                  </a:lnTo>
                  <a:cubicBezTo>
                    <a:pt x="75256" y="61852"/>
                    <a:pt x="77160" y="61852"/>
                    <a:pt x="79064" y="60900"/>
                  </a:cubicBezTo>
                  <a:lnTo>
                    <a:pt x="80016" y="60900"/>
                  </a:lnTo>
                  <a:lnTo>
                    <a:pt x="80016" y="60900"/>
                  </a:lnTo>
                  <a:cubicBezTo>
                    <a:pt x="80968" y="60900"/>
                    <a:pt x="80968" y="60900"/>
                    <a:pt x="80968" y="61852"/>
                  </a:cubicBezTo>
                  <a:lnTo>
                    <a:pt x="80968" y="61852"/>
                  </a:lnTo>
                  <a:cubicBezTo>
                    <a:pt x="82872" y="63755"/>
                    <a:pt x="89535" y="58997"/>
                    <a:pt x="93342" y="59949"/>
                  </a:cubicBezTo>
                  <a:cubicBezTo>
                    <a:pt x="94294" y="59949"/>
                    <a:pt x="93342" y="59949"/>
                    <a:pt x="94294" y="58997"/>
                  </a:cubicBezTo>
                  <a:cubicBezTo>
                    <a:pt x="98102" y="58997"/>
                    <a:pt x="100958" y="58997"/>
                    <a:pt x="105717" y="58997"/>
                  </a:cubicBezTo>
                  <a:cubicBezTo>
                    <a:pt x="106669" y="58046"/>
                    <a:pt x="106669" y="58046"/>
                    <a:pt x="104765" y="57094"/>
                  </a:cubicBezTo>
                  <a:lnTo>
                    <a:pt x="107621" y="57094"/>
                  </a:lnTo>
                  <a:cubicBezTo>
                    <a:pt x="104765" y="59949"/>
                    <a:pt x="113332" y="58046"/>
                    <a:pt x="111429" y="60900"/>
                  </a:cubicBezTo>
                  <a:cubicBezTo>
                    <a:pt x="112380" y="60900"/>
                    <a:pt x="114284" y="60900"/>
                    <a:pt x="116188" y="60900"/>
                  </a:cubicBezTo>
                  <a:cubicBezTo>
                    <a:pt x="116188" y="59949"/>
                    <a:pt x="116188" y="58997"/>
                    <a:pt x="119044" y="58997"/>
                  </a:cubicBezTo>
                  <a:cubicBezTo>
                    <a:pt x="121899" y="58997"/>
                    <a:pt x="121899" y="58997"/>
                    <a:pt x="123803" y="58997"/>
                  </a:cubicBezTo>
                  <a:cubicBezTo>
                    <a:pt x="124755" y="59949"/>
                    <a:pt x="123803" y="59949"/>
                    <a:pt x="123803" y="60900"/>
                  </a:cubicBezTo>
                  <a:cubicBezTo>
                    <a:pt x="127611" y="58997"/>
                    <a:pt x="127611" y="61852"/>
                    <a:pt x="131418" y="60900"/>
                  </a:cubicBezTo>
                  <a:cubicBezTo>
                    <a:pt x="133322" y="59949"/>
                    <a:pt x="138082" y="59949"/>
                    <a:pt x="138082" y="58046"/>
                  </a:cubicBezTo>
                  <a:cubicBezTo>
                    <a:pt x="139034" y="57094"/>
                    <a:pt x="139034" y="58046"/>
                    <a:pt x="139034" y="58997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36426558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udendørs, bænk, sidder&#10;&#10;Automatisk genereret beskrivelse">
            <a:extLst>
              <a:ext uri="{FF2B5EF4-FFF2-40B4-BE49-F238E27FC236}">
                <a16:creationId xmlns:a16="http://schemas.microsoft.com/office/drawing/2014/main" id="{731A862E-C8E1-AF42-92F3-C4898253E1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86167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indendørs, person, barn, sidder&#10;&#10;Automatisk genereret beskrivelse">
            <a:extLst>
              <a:ext uri="{FF2B5EF4-FFF2-40B4-BE49-F238E27FC236}">
                <a16:creationId xmlns:a16="http://schemas.microsoft.com/office/drawing/2014/main" id="{7FC025C4-3C51-2A45-9719-DDD2CC92AC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2FB2E0C-BE4C-8B44-9153-E69F14E128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D64F0D3D-51BD-EB4A-AF54-E0CD9509F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10448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789554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7) Indhold -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gram 4">
            <a:extLst>
              <a:ext uri="{FF2B5EF4-FFF2-40B4-BE49-F238E27FC236}">
                <a16:creationId xmlns:a16="http://schemas.microsoft.com/office/drawing/2014/main" id="{649C4CD9-CD6F-334F-98E9-4820250EF86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t diagram</a:t>
            </a:r>
          </a:p>
        </p:txBody>
      </p:sp>
    </p:spTree>
    <p:extLst>
      <p:ext uri="{BB962C8B-B14F-4D97-AF65-F5344CB8AC3E}">
        <p14:creationId xmlns:p14="http://schemas.microsoft.com/office/powerpoint/2010/main" val="264450706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araply, person, tilbehør, opbevarer&#10;&#10;Automatisk genereret beskrivelse">
            <a:extLst>
              <a:ext uri="{FF2B5EF4-FFF2-40B4-BE49-F238E27FC236}">
                <a16:creationId xmlns:a16="http://schemas.microsoft.com/office/drawing/2014/main" id="{D11B5318-5D51-FF46-AFA4-AA3E8E7B22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D436AAE-0CC0-2842-B97D-F213D08176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C518AE99-3537-9048-8647-3EEBD7036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04426464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græs, felt, får&#10;&#10;Automatisk genereret beskrivelse">
            <a:extLst>
              <a:ext uri="{FF2B5EF4-FFF2-40B4-BE49-F238E27FC236}">
                <a16:creationId xmlns:a16="http://schemas.microsoft.com/office/drawing/2014/main" id="{28037FDD-8966-5E47-91C2-1782A94194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CC8B7C6-4DC1-5C4E-B62C-454EEB2BB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8D615CE-0B75-DA4C-B19A-F75CC578C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79937825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udendørs, græs, bjerg, mad&#10;&#10;Automatisk genereret beskrivelse">
            <a:extLst>
              <a:ext uri="{FF2B5EF4-FFF2-40B4-BE49-F238E27FC236}">
                <a16:creationId xmlns:a16="http://schemas.microsoft.com/office/drawing/2014/main" id="{0EA045AA-3339-604F-8EB8-940992657D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E53EFFB-2725-DF45-91C3-4FEDAFF8E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071EF88-57BE-7A41-922C-F13269FBA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78480610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bygning, hegn, by&#10;&#10;Automatisk genereret beskrivelse">
            <a:extLst>
              <a:ext uri="{FF2B5EF4-FFF2-40B4-BE49-F238E27FC236}">
                <a16:creationId xmlns:a16="http://schemas.microsoft.com/office/drawing/2014/main" id="{9605DD56-4AD4-7B47-96A1-120C1DF65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BE94C62-970B-4746-BEEC-26579458ED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7D4BF381-4455-B540-8DC5-812DBB345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14023862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erson, udendørs, bygning, forbereder&#10;&#10;Automatisk genereret beskrivelse">
            <a:extLst>
              <a:ext uri="{FF2B5EF4-FFF2-40B4-BE49-F238E27FC236}">
                <a16:creationId xmlns:a16="http://schemas.microsoft.com/office/drawing/2014/main" id="{40209235-55F1-C34E-9B18-45E743DAE7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0" y="0"/>
            <a:ext cx="121952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0AD2C0-AC1A-A542-B630-A0A9A232B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D545335C-C562-DA4D-AC43-5CCF4BE5D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8026062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indendørs, opbevarer, afspiller&#10;&#10;Automatisk genereret beskrivelse">
            <a:extLst>
              <a:ext uri="{FF2B5EF4-FFF2-40B4-BE49-F238E27FC236}">
                <a16:creationId xmlns:a16="http://schemas.microsoft.com/office/drawing/2014/main" id="{86A135C5-411F-3647-B5F8-69AF5E9E1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0" y="0"/>
            <a:ext cx="121952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2942178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3" name="Picture 3" descr="D:\Opgaver\EDC Marts 2020\Powerpointskabelon\billeder\ppt_billede_det_handler_om_at_gøre_sig_umage_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5372809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 descr="D:\Opgaver\EDC Marts 2020\Powerpointskabelon\billeder\ppt_billede_drone_by_frederiksber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8473144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D:\Opgaver\EDC Marts 2020\Powerpointskabelon\billeder\ppt_billede_par_renover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04654861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 descr="D:\Opgaver\EDC Marts 2020\Powerpointskabelon\billeder\ppt_billede_par_ud_af_vindu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199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647116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8) Indhold -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abel 5">
            <a:extLst>
              <a:ext uri="{FF2B5EF4-FFF2-40B4-BE49-F238E27FC236}">
                <a16:creationId xmlns:a16="http://schemas.microsoft.com/office/drawing/2014/main" id="{FAC4DF31-B3FA-AA43-969D-3B3268B15152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334489488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D:\Opgaver\EDC Marts 2020\Powerpointskabelon\billeder\ppt_billede_kvinde_i_lejlighe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3734833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D:\Opgaver\EDC Marts 2020\Powerpointskabelon\billeder\ppt_billede_familie_i_sommerhu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93409507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D:\Opgaver\EDC Marts 2020\Powerpointskabelon\billeder\ppt_billede_sommerhus_hoet_gra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81112360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D:\Opgaver\EDC Marts 2020\Powerpointskabelon\billeder\ppt_billede_kvinde_i_lejlighed_med_t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92049634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D:\Opgaver\EDC Marts 2020\Powerpointskabelon\billeder\ppt_billede_mand_ruller_taeppe_u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4019011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3" name="Picture 3" descr="D:\Opgaver\EDC Marts 2020\Powerpointskabelon\billeder\ppt_billede_aeldre_par_mal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6718893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D:\Opgaver\EDC Marts 2020\Powerpointskabelon\billeder\ppt_billede_familie_paa_fremvisnin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200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09370246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6660982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96403943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0208342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9) Indhold - 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204549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5378971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1241918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3073552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1364297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3174"/>
            <a:ext cx="12185335" cy="6854250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4265033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4" y="3174"/>
            <a:ext cx="12185333" cy="6854250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2467592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4" y="3175"/>
            <a:ext cx="12185333" cy="6854249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66879411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Umage_1_video_1920x1080_7-3" descr="Umage_1_video_1920x1080_7-3">
            <a:hlinkClick r:id="" action="ppaction://media"/>
            <a:extLst>
              <a:ext uri="{FF2B5EF4-FFF2-40B4-BE49-F238E27FC236}">
                <a16:creationId xmlns:a16="http://schemas.microsoft.com/office/drawing/2014/main" id="{7DC1A101-C4D9-A546-96D4-D7FAD68CA96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4048" y="1"/>
            <a:ext cx="12196048" cy="6871013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49125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Umage_1_video_1920x1080_7-4" descr="Umage_1_video_1920x1080_7-4">
            <a:hlinkClick r:id="" action="ppaction://media"/>
            <a:extLst>
              <a:ext uri="{FF2B5EF4-FFF2-40B4-BE49-F238E27FC236}">
                <a16:creationId xmlns:a16="http://schemas.microsoft.com/office/drawing/2014/main" id="{E5C58D9B-5A43-B947-A80D-165D5224DA9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297"/>
            <a:ext cx="12192000" cy="6868732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56095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2594777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vert="horz" anchor="ctr" anchorCtr="0"/>
          <a:lstStyle>
            <a:lvl1pPr algn="r">
              <a:defRPr sz="900">
                <a:solidFill>
                  <a:srgbClr val="004454"/>
                </a:solidFill>
                <a:latin typeface="+mn-lt"/>
              </a:defRPr>
            </a:lvl1pPr>
          </a:lstStyle>
          <a:p>
            <a:fld id="{892EE196-DDA1-41FD-83E0-096904DE06E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475549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0) Indhold - Best prac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P-Animation" descr="BP-Animation">
            <a:hlinkClick r:id="" action="ppaction://media"/>
            <a:extLst>
              <a:ext uri="{FF2B5EF4-FFF2-40B4-BE49-F238E27FC236}">
                <a16:creationId xmlns:a16="http://schemas.microsoft.com/office/drawing/2014/main" id="{576F7D11-4E26-1B4C-A111-575C6B10466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30238"/>
          <a:stretch/>
        </p:blipFill>
        <p:spPr>
          <a:xfrm>
            <a:off x="3364255" y="184108"/>
            <a:ext cx="6319796" cy="3206422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2976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2179800" y="22496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736726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grpSp>
        <p:nvGrpSpPr>
          <p:cNvPr id="22" name="Gruppe 21">
            <a:extLst>
              <a:ext uri="{FF2B5EF4-FFF2-40B4-BE49-F238E27FC236}">
                <a16:creationId xmlns:a16="http://schemas.microsoft.com/office/drawing/2014/main" id="{E2741BB0-BC6E-D043-8C59-CE47B8FEEF7A}"/>
              </a:ext>
            </a:extLst>
          </p:cNvPr>
          <p:cNvGrpSpPr/>
          <p:nvPr userDrawn="1"/>
        </p:nvGrpSpPr>
        <p:grpSpPr>
          <a:xfrm>
            <a:off x="1308675" y="2156651"/>
            <a:ext cx="627088" cy="943015"/>
            <a:chOff x="1423875" y="4071849"/>
            <a:chExt cx="627088" cy="943015"/>
          </a:xfrm>
        </p:grpSpPr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A1BAD3C0-82BE-B54D-9145-1EB45E6DD52F}"/>
                </a:ext>
              </a:extLst>
            </p:cNvPr>
            <p:cNvSpPr txBox="1"/>
            <p:nvPr/>
          </p:nvSpPr>
          <p:spPr>
            <a:xfrm>
              <a:off x="1507224" y="4071849"/>
              <a:ext cx="543739" cy="9430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528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1</a:t>
              </a:r>
            </a:p>
          </p:txBody>
        </p:sp>
        <p:sp>
          <p:nvSpPr>
            <p:cNvPr id="16" name="Kombinationstegning 15">
              <a:extLst>
                <a:ext uri="{FF2B5EF4-FFF2-40B4-BE49-F238E27FC236}">
                  <a16:creationId xmlns:a16="http://schemas.microsoft.com/office/drawing/2014/main" id="{38AA8925-755B-CC44-9D77-ABBFFB5873C3}"/>
                </a:ext>
              </a:extLst>
            </p:cNvPr>
            <p:cNvSpPr/>
            <p:nvPr/>
          </p:nvSpPr>
          <p:spPr>
            <a:xfrm>
              <a:off x="1423875" y="4157643"/>
              <a:ext cx="572723" cy="608067"/>
            </a:xfrm>
            <a:custGeom>
              <a:avLst/>
              <a:gdLst>
                <a:gd name="connsiteX0" fmla="*/ 17465 w 572723"/>
                <a:gd name="connsiteY0" fmla="*/ 206977 h 608067"/>
                <a:gd name="connsiteX1" fmla="*/ 15460 w 572723"/>
                <a:gd name="connsiteY1" fmla="*/ 213996 h 608067"/>
                <a:gd name="connsiteX2" fmla="*/ 40533 w 572723"/>
                <a:gd name="connsiteY2" fmla="*/ 142802 h 608067"/>
                <a:gd name="connsiteX3" fmla="*/ 6433 w 572723"/>
                <a:gd name="connsiteY3" fmla="*/ 223020 h 608067"/>
                <a:gd name="connsiteX4" fmla="*/ 8439 w 572723"/>
                <a:gd name="connsiteY4" fmla="*/ 300230 h 608067"/>
                <a:gd name="connsiteX5" fmla="*/ 415 w 572723"/>
                <a:gd name="connsiteY5" fmla="*/ 331315 h 608067"/>
                <a:gd name="connsiteX6" fmla="*/ 1418 w 572723"/>
                <a:gd name="connsiteY6" fmla="*/ 359391 h 608067"/>
                <a:gd name="connsiteX7" fmla="*/ 10445 w 572723"/>
                <a:gd name="connsiteY7" fmla="*/ 392481 h 608067"/>
                <a:gd name="connsiteX8" fmla="*/ 4427 w 572723"/>
                <a:gd name="connsiteY8" fmla="*/ 369418 h 608067"/>
                <a:gd name="connsiteX9" fmla="*/ 10445 w 572723"/>
                <a:gd name="connsiteY9" fmla="*/ 392481 h 608067"/>
                <a:gd name="connsiteX10" fmla="*/ 29501 w 572723"/>
                <a:gd name="connsiteY10" fmla="*/ 445626 h 608067"/>
                <a:gd name="connsiteX11" fmla="*/ 60592 w 572723"/>
                <a:gd name="connsiteY11" fmla="*/ 496765 h 608067"/>
                <a:gd name="connsiteX12" fmla="*/ 156874 w 572723"/>
                <a:gd name="connsiteY12" fmla="*/ 569964 h 608067"/>
                <a:gd name="connsiteX13" fmla="*/ 257167 w 572723"/>
                <a:gd name="connsiteY13" fmla="*/ 601048 h 608067"/>
                <a:gd name="connsiteX14" fmla="*/ 317343 w 572723"/>
                <a:gd name="connsiteY14" fmla="*/ 608067 h 608067"/>
                <a:gd name="connsiteX15" fmla="*/ 364481 w 572723"/>
                <a:gd name="connsiteY15" fmla="*/ 607064 h 608067"/>
                <a:gd name="connsiteX16" fmla="*/ 385543 w 572723"/>
                <a:gd name="connsiteY16" fmla="*/ 604056 h 608067"/>
                <a:gd name="connsiteX17" fmla="*/ 362476 w 572723"/>
                <a:gd name="connsiteY17" fmla="*/ 606062 h 608067"/>
                <a:gd name="connsiteX18" fmla="*/ 438699 w 572723"/>
                <a:gd name="connsiteY18" fmla="*/ 578988 h 608067"/>
                <a:gd name="connsiteX19" fmla="*/ 422652 w 572723"/>
                <a:gd name="connsiteY19" fmla="*/ 580994 h 608067"/>
                <a:gd name="connsiteX20" fmla="*/ 434687 w 572723"/>
                <a:gd name="connsiteY20" fmla="*/ 576983 h 608067"/>
                <a:gd name="connsiteX21" fmla="*/ 476810 w 572723"/>
                <a:gd name="connsiteY21" fmla="*/ 546901 h 608067"/>
                <a:gd name="connsiteX22" fmla="*/ 490852 w 572723"/>
                <a:gd name="connsiteY22" fmla="*/ 537876 h 608067"/>
                <a:gd name="connsiteX23" fmla="*/ 487843 w 572723"/>
                <a:gd name="connsiteY23" fmla="*/ 538879 h 608067"/>
                <a:gd name="connsiteX24" fmla="*/ 521943 w 572723"/>
                <a:gd name="connsiteY24" fmla="*/ 498770 h 608067"/>
                <a:gd name="connsiteX25" fmla="*/ 543004 w 572723"/>
                <a:gd name="connsiteY25" fmla="*/ 454650 h 608067"/>
                <a:gd name="connsiteX26" fmla="*/ 547016 w 572723"/>
                <a:gd name="connsiteY26" fmla="*/ 446628 h 608067"/>
                <a:gd name="connsiteX27" fmla="*/ 553034 w 572723"/>
                <a:gd name="connsiteY27" fmla="*/ 419555 h 608067"/>
                <a:gd name="connsiteX28" fmla="*/ 559051 w 572723"/>
                <a:gd name="connsiteY28" fmla="*/ 411533 h 608067"/>
                <a:gd name="connsiteX29" fmla="*/ 566072 w 572723"/>
                <a:gd name="connsiteY29" fmla="*/ 352372 h 608067"/>
                <a:gd name="connsiteX30" fmla="*/ 571086 w 572723"/>
                <a:gd name="connsiteY30" fmla="*/ 246083 h 608067"/>
                <a:gd name="connsiteX31" fmla="*/ 528963 w 572723"/>
                <a:gd name="connsiteY31" fmla="*/ 144808 h 608067"/>
                <a:gd name="connsiteX32" fmla="*/ 528963 w 572723"/>
                <a:gd name="connsiteY32" fmla="*/ 146813 h 608067"/>
                <a:gd name="connsiteX33" fmla="*/ 469790 w 572723"/>
                <a:gd name="connsiteY33" fmla="*/ 96677 h 608067"/>
                <a:gd name="connsiteX34" fmla="*/ 437696 w 572723"/>
                <a:gd name="connsiteY34" fmla="*/ 83642 h 608067"/>
                <a:gd name="connsiteX35" fmla="*/ 422652 w 572723"/>
                <a:gd name="connsiteY35" fmla="*/ 80633 h 608067"/>
                <a:gd name="connsiteX36" fmla="*/ 412622 w 572723"/>
                <a:gd name="connsiteY36" fmla="*/ 80633 h 608067"/>
                <a:gd name="connsiteX37" fmla="*/ 397578 w 572723"/>
                <a:gd name="connsiteY37" fmla="*/ 77625 h 608067"/>
                <a:gd name="connsiteX38" fmla="*/ 384540 w 572723"/>
                <a:gd name="connsiteY38" fmla="*/ 76622 h 608067"/>
                <a:gd name="connsiteX39" fmla="*/ 372505 w 572723"/>
                <a:gd name="connsiteY39" fmla="*/ 76622 h 608067"/>
                <a:gd name="connsiteX40" fmla="*/ 357461 w 572723"/>
                <a:gd name="connsiteY40" fmla="*/ 77625 h 608067"/>
                <a:gd name="connsiteX41" fmla="*/ 350440 w 572723"/>
                <a:gd name="connsiteY41" fmla="*/ 80633 h 608067"/>
                <a:gd name="connsiteX42" fmla="*/ 347432 w 572723"/>
                <a:gd name="connsiteY42" fmla="*/ 82639 h 608067"/>
                <a:gd name="connsiteX43" fmla="*/ 374511 w 572723"/>
                <a:gd name="connsiteY43" fmla="*/ 85647 h 608067"/>
                <a:gd name="connsiteX44" fmla="*/ 374511 w 572723"/>
                <a:gd name="connsiteY44" fmla="*/ 84644 h 608067"/>
                <a:gd name="connsiteX45" fmla="*/ 451737 w 572723"/>
                <a:gd name="connsiteY45" fmla="*/ 115729 h 608067"/>
                <a:gd name="connsiteX46" fmla="*/ 507901 w 572723"/>
                <a:gd name="connsiteY46" fmla="*/ 175892 h 608067"/>
                <a:gd name="connsiteX47" fmla="*/ 528963 w 572723"/>
                <a:gd name="connsiteY47" fmla="*/ 228034 h 608067"/>
                <a:gd name="connsiteX48" fmla="*/ 531972 w 572723"/>
                <a:gd name="connsiteY48" fmla="*/ 288198 h 608067"/>
                <a:gd name="connsiteX49" fmla="*/ 524951 w 572723"/>
                <a:gd name="connsiteY49" fmla="*/ 357386 h 608067"/>
                <a:gd name="connsiteX50" fmla="*/ 513919 w 572723"/>
                <a:gd name="connsiteY50" fmla="*/ 420557 h 608067"/>
                <a:gd name="connsiteX51" fmla="*/ 503890 w 572723"/>
                <a:gd name="connsiteY51" fmla="*/ 441615 h 608067"/>
                <a:gd name="connsiteX52" fmla="*/ 477813 w 572723"/>
                <a:gd name="connsiteY52" fmla="*/ 489746 h 608067"/>
                <a:gd name="connsiteX53" fmla="*/ 434687 w 572723"/>
                <a:gd name="connsiteY53" fmla="*/ 527849 h 608067"/>
                <a:gd name="connsiteX54" fmla="*/ 436693 w 572723"/>
                <a:gd name="connsiteY54" fmla="*/ 526846 h 608067"/>
                <a:gd name="connsiteX55" fmla="*/ 385543 w 572723"/>
                <a:gd name="connsiteY55" fmla="*/ 545898 h 608067"/>
                <a:gd name="connsiteX56" fmla="*/ 381531 w 572723"/>
                <a:gd name="connsiteY56" fmla="*/ 547904 h 608067"/>
                <a:gd name="connsiteX57" fmla="*/ 361473 w 572723"/>
                <a:gd name="connsiteY57" fmla="*/ 550912 h 608067"/>
                <a:gd name="connsiteX58" fmla="*/ 320352 w 572723"/>
                <a:gd name="connsiteY58" fmla="*/ 556928 h 608067"/>
                <a:gd name="connsiteX59" fmla="*/ 254158 w 572723"/>
                <a:gd name="connsiteY59" fmla="*/ 553920 h 608067"/>
                <a:gd name="connsiteX60" fmla="*/ 247138 w 572723"/>
                <a:gd name="connsiteY60" fmla="*/ 552917 h 608067"/>
                <a:gd name="connsiteX61" fmla="*/ 184956 w 572723"/>
                <a:gd name="connsiteY61" fmla="*/ 529855 h 608067"/>
                <a:gd name="connsiteX62" fmla="*/ 133806 w 572723"/>
                <a:gd name="connsiteY62" fmla="*/ 500776 h 608067"/>
                <a:gd name="connsiteX63" fmla="*/ 112744 w 572723"/>
                <a:gd name="connsiteY63" fmla="*/ 490748 h 608067"/>
                <a:gd name="connsiteX64" fmla="*/ 100709 w 572723"/>
                <a:gd name="connsiteY64" fmla="*/ 480721 h 608067"/>
                <a:gd name="connsiteX65" fmla="*/ 87671 w 572723"/>
                <a:gd name="connsiteY65" fmla="*/ 464677 h 608067"/>
                <a:gd name="connsiteX66" fmla="*/ 64603 w 572723"/>
                <a:gd name="connsiteY66" fmla="*/ 425571 h 608067"/>
                <a:gd name="connsiteX67" fmla="*/ 56580 w 572723"/>
                <a:gd name="connsiteY67" fmla="*/ 407522 h 608067"/>
                <a:gd name="connsiteX68" fmla="*/ 55577 w 572723"/>
                <a:gd name="connsiteY68" fmla="*/ 395489 h 608067"/>
                <a:gd name="connsiteX69" fmla="*/ 51565 w 572723"/>
                <a:gd name="connsiteY69" fmla="*/ 369418 h 608067"/>
                <a:gd name="connsiteX70" fmla="*/ 47553 w 572723"/>
                <a:gd name="connsiteY70" fmla="*/ 347358 h 608067"/>
                <a:gd name="connsiteX71" fmla="*/ 43542 w 572723"/>
                <a:gd name="connsiteY71" fmla="*/ 325299 h 608067"/>
                <a:gd name="connsiteX72" fmla="*/ 43542 w 572723"/>
                <a:gd name="connsiteY72" fmla="*/ 328307 h 608067"/>
                <a:gd name="connsiteX73" fmla="*/ 48556 w 572723"/>
                <a:gd name="connsiteY73" fmla="*/ 280176 h 608067"/>
                <a:gd name="connsiteX74" fmla="*/ 61595 w 572723"/>
                <a:gd name="connsiteY74" fmla="*/ 205974 h 608067"/>
                <a:gd name="connsiteX75" fmla="*/ 89677 w 572723"/>
                <a:gd name="connsiteY75" fmla="*/ 139794 h 608067"/>
                <a:gd name="connsiteX76" fmla="*/ 82656 w 572723"/>
                <a:gd name="connsiteY76" fmla="*/ 147816 h 608067"/>
                <a:gd name="connsiteX77" fmla="*/ 132803 w 572723"/>
                <a:gd name="connsiteY77" fmla="*/ 87652 h 608067"/>
                <a:gd name="connsiteX78" fmla="*/ 143835 w 572723"/>
                <a:gd name="connsiteY78" fmla="*/ 81636 h 608067"/>
                <a:gd name="connsiteX79" fmla="*/ 151859 w 572723"/>
                <a:gd name="connsiteY79" fmla="*/ 74617 h 608067"/>
                <a:gd name="connsiteX80" fmla="*/ 153865 w 572723"/>
                <a:gd name="connsiteY80" fmla="*/ 75620 h 608067"/>
                <a:gd name="connsiteX81" fmla="*/ 171918 w 572723"/>
                <a:gd name="connsiteY81" fmla="*/ 64590 h 608067"/>
                <a:gd name="connsiteX82" fmla="*/ 176932 w 572723"/>
                <a:gd name="connsiteY82" fmla="*/ 60579 h 608067"/>
                <a:gd name="connsiteX83" fmla="*/ 184956 w 572723"/>
                <a:gd name="connsiteY83" fmla="*/ 58573 h 608067"/>
                <a:gd name="connsiteX84" fmla="*/ 184956 w 572723"/>
                <a:gd name="connsiteY84" fmla="*/ 58573 h 608067"/>
                <a:gd name="connsiteX85" fmla="*/ 189970 w 572723"/>
                <a:gd name="connsiteY85" fmla="*/ 56568 h 608067"/>
                <a:gd name="connsiteX86" fmla="*/ 206018 w 572723"/>
                <a:gd name="connsiteY86" fmla="*/ 45538 h 608067"/>
                <a:gd name="connsiteX87" fmla="*/ 223067 w 572723"/>
                <a:gd name="connsiteY87" fmla="*/ 35511 h 608067"/>
                <a:gd name="connsiteX88" fmla="*/ 225073 w 572723"/>
                <a:gd name="connsiteY88" fmla="*/ 35511 h 608067"/>
                <a:gd name="connsiteX89" fmla="*/ 228082 w 572723"/>
                <a:gd name="connsiteY89" fmla="*/ 32503 h 608067"/>
                <a:gd name="connsiteX90" fmla="*/ 234100 w 572723"/>
                <a:gd name="connsiteY90" fmla="*/ 31500 h 608067"/>
                <a:gd name="connsiteX91" fmla="*/ 233097 w 572723"/>
                <a:gd name="connsiteY91" fmla="*/ 31500 h 608067"/>
                <a:gd name="connsiteX92" fmla="*/ 239114 w 572723"/>
                <a:gd name="connsiteY92" fmla="*/ 30497 h 608067"/>
                <a:gd name="connsiteX93" fmla="*/ 240117 w 572723"/>
                <a:gd name="connsiteY93" fmla="*/ 32503 h 608067"/>
                <a:gd name="connsiteX94" fmla="*/ 250147 w 572723"/>
                <a:gd name="connsiteY94" fmla="*/ 30497 h 608067"/>
                <a:gd name="connsiteX95" fmla="*/ 219056 w 572723"/>
                <a:gd name="connsiteY95" fmla="*/ 31500 h 608067"/>
                <a:gd name="connsiteX96" fmla="*/ 234100 w 572723"/>
                <a:gd name="connsiteY96" fmla="*/ 27489 h 608067"/>
                <a:gd name="connsiteX97" fmla="*/ 245132 w 572723"/>
                <a:gd name="connsiteY97" fmla="*/ 27489 h 608067"/>
                <a:gd name="connsiteX98" fmla="*/ 258170 w 572723"/>
                <a:gd name="connsiteY98" fmla="*/ 27489 h 608067"/>
                <a:gd name="connsiteX99" fmla="*/ 265191 w 572723"/>
                <a:gd name="connsiteY99" fmla="*/ 25483 h 608067"/>
                <a:gd name="connsiteX100" fmla="*/ 273214 w 572723"/>
                <a:gd name="connsiteY100" fmla="*/ 26486 h 608067"/>
                <a:gd name="connsiteX101" fmla="*/ 261179 w 572723"/>
                <a:gd name="connsiteY101" fmla="*/ 27489 h 608067"/>
                <a:gd name="connsiteX102" fmla="*/ 266194 w 572723"/>
                <a:gd name="connsiteY102" fmla="*/ 28492 h 608067"/>
                <a:gd name="connsiteX103" fmla="*/ 273214 w 572723"/>
                <a:gd name="connsiteY103" fmla="*/ 28492 h 608067"/>
                <a:gd name="connsiteX104" fmla="*/ 287255 w 572723"/>
                <a:gd name="connsiteY104" fmla="*/ 28492 h 608067"/>
                <a:gd name="connsiteX105" fmla="*/ 293273 w 572723"/>
                <a:gd name="connsiteY105" fmla="*/ 31500 h 608067"/>
                <a:gd name="connsiteX106" fmla="*/ 297285 w 572723"/>
                <a:gd name="connsiteY106" fmla="*/ 30497 h 608067"/>
                <a:gd name="connsiteX107" fmla="*/ 289261 w 572723"/>
                <a:gd name="connsiteY107" fmla="*/ 25483 h 608067"/>
                <a:gd name="connsiteX108" fmla="*/ 300294 w 572723"/>
                <a:gd name="connsiteY108" fmla="*/ 27489 h 608067"/>
                <a:gd name="connsiteX109" fmla="*/ 300294 w 572723"/>
                <a:gd name="connsiteY109" fmla="*/ 25483 h 608067"/>
                <a:gd name="connsiteX110" fmla="*/ 310323 w 572723"/>
                <a:gd name="connsiteY110" fmla="*/ 27489 h 608067"/>
                <a:gd name="connsiteX111" fmla="*/ 307314 w 572723"/>
                <a:gd name="connsiteY111" fmla="*/ 26486 h 608067"/>
                <a:gd name="connsiteX112" fmla="*/ 296282 w 572723"/>
                <a:gd name="connsiteY112" fmla="*/ 28492 h 608067"/>
                <a:gd name="connsiteX113" fmla="*/ 286252 w 572723"/>
                <a:gd name="connsiteY113" fmla="*/ 30497 h 608067"/>
                <a:gd name="connsiteX114" fmla="*/ 299291 w 572723"/>
                <a:gd name="connsiteY114" fmla="*/ 27489 h 608067"/>
                <a:gd name="connsiteX115" fmla="*/ 311326 w 572723"/>
                <a:gd name="connsiteY115" fmla="*/ 26486 h 608067"/>
                <a:gd name="connsiteX116" fmla="*/ 311326 w 572723"/>
                <a:gd name="connsiteY116" fmla="*/ 23478 h 608067"/>
                <a:gd name="connsiteX117" fmla="*/ 307314 w 572723"/>
                <a:gd name="connsiteY117" fmla="*/ 24481 h 608067"/>
                <a:gd name="connsiteX118" fmla="*/ 303302 w 572723"/>
                <a:gd name="connsiteY118" fmla="*/ 20470 h 608067"/>
                <a:gd name="connsiteX119" fmla="*/ 296282 w 572723"/>
                <a:gd name="connsiteY119" fmla="*/ 23478 h 608067"/>
                <a:gd name="connsiteX120" fmla="*/ 288258 w 572723"/>
                <a:gd name="connsiteY120" fmla="*/ 25483 h 608067"/>
                <a:gd name="connsiteX121" fmla="*/ 286252 w 572723"/>
                <a:gd name="connsiteY121" fmla="*/ 24481 h 608067"/>
                <a:gd name="connsiteX122" fmla="*/ 298288 w 572723"/>
                <a:gd name="connsiteY122" fmla="*/ 25483 h 608067"/>
                <a:gd name="connsiteX123" fmla="*/ 305308 w 572723"/>
                <a:gd name="connsiteY123" fmla="*/ 24481 h 608067"/>
                <a:gd name="connsiteX124" fmla="*/ 306311 w 572723"/>
                <a:gd name="connsiteY124" fmla="*/ 24481 h 608067"/>
                <a:gd name="connsiteX125" fmla="*/ 312329 w 572723"/>
                <a:gd name="connsiteY125" fmla="*/ 23478 h 608067"/>
                <a:gd name="connsiteX126" fmla="*/ 310323 w 572723"/>
                <a:gd name="connsiteY126" fmla="*/ 16459 h 608067"/>
                <a:gd name="connsiteX127" fmla="*/ 309320 w 572723"/>
                <a:gd name="connsiteY127" fmla="*/ 9440 h 608067"/>
                <a:gd name="connsiteX128" fmla="*/ 298288 w 572723"/>
                <a:gd name="connsiteY128" fmla="*/ 10443 h 608067"/>
                <a:gd name="connsiteX129" fmla="*/ 288258 w 572723"/>
                <a:gd name="connsiteY129" fmla="*/ 6432 h 608067"/>
                <a:gd name="connsiteX130" fmla="*/ 284246 w 572723"/>
                <a:gd name="connsiteY130" fmla="*/ 7434 h 608067"/>
                <a:gd name="connsiteX131" fmla="*/ 277226 w 572723"/>
                <a:gd name="connsiteY131" fmla="*/ 4426 h 608067"/>
                <a:gd name="connsiteX132" fmla="*/ 266194 w 572723"/>
                <a:gd name="connsiteY132" fmla="*/ 4426 h 608067"/>
                <a:gd name="connsiteX133" fmla="*/ 263185 w 572723"/>
                <a:gd name="connsiteY133" fmla="*/ 6432 h 608067"/>
                <a:gd name="connsiteX134" fmla="*/ 243126 w 572723"/>
                <a:gd name="connsiteY134" fmla="*/ 7434 h 608067"/>
                <a:gd name="connsiteX135" fmla="*/ 239114 w 572723"/>
                <a:gd name="connsiteY135" fmla="*/ 2421 h 608067"/>
                <a:gd name="connsiteX136" fmla="*/ 246135 w 572723"/>
                <a:gd name="connsiteY136" fmla="*/ 4426 h 608067"/>
                <a:gd name="connsiteX137" fmla="*/ 256164 w 572723"/>
                <a:gd name="connsiteY137" fmla="*/ 415 h 608067"/>
                <a:gd name="connsiteX138" fmla="*/ 241120 w 572723"/>
                <a:gd name="connsiteY138" fmla="*/ 1418 h 608067"/>
                <a:gd name="connsiteX139" fmla="*/ 242123 w 572723"/>
                <a:gd name="connsiteY139" fmla="*/ 1418 h 608067"/>
                <a:gd name="connsiteX140" fmla="*/ 222064 w 572723"/>
                <a:gd name="connsiteY140" fmla="*/ 4426 h 608067"/>
                <a:gd name="connsiteX141" fmla="*/ 224070 w 572723"/>
                <a:gd name="connsiteY141" fmla="*/ 1418 h 608067"/>
                <a:gd name="connsiteX142" fmla="*/ 217050 w 572723"/>
                <a:gd name="connsiteY142" fmla="*/ 2421 h 608067"/>
                <a:gd name="connsiteX143" fmla="*/ 217050 w 572723"/>
                <a:gd name="connsiteY143" fmla="*/ 3424 h 608067"/>
                <a:gd name="connsiteX144" fmla="*/ 208023 w 572723"/>
                <a:gd name="connsiteY144" fmla="*/ 5429 h 608067"/>
                <a:gd name="connsiteX145" fmla="*/ 191976 w 572723"/>
                <a:gd name="connsiteY145" fmla="*/ 13451 h 608067"/>
                <a:gd name="connsiteX146" fmla="*/ 177935 w 572723"/>
                <a:gd name="connsiteY146" fmla="*/ 22475 h 608067"/>
                <a:gd name="connsiteX147" fmla="*/ 167906 w 572723"/>
                <a:gd name="connsiteY147" fmla="*/ 26486 h 608067"/>
                <a:gd name="connsiteX148" fmla="*/ 173923 w 572723"/>
                <a:gd name="connsiteY148" fmla="*/ 23478 h 608067"/>
                <a:gd name="connsiteX149" fmla="*/ 186962 w 572723"/>
                <a:gd name="connsiteY149" fmla="*/ 15456 h 608067"/>
                <a:gd name="connsiteX150" fmla="*/ 200000 w 572723"/>
                <a:gd name="connsiteY150" fmla="*/ 8437 h 608067"/>
                <a:gd name="connsiteX151" fmla="*/ 203009 w 572723"/>
                <a:gd name="connsiteY151" fmla="*/ 6432 h 608067"/>
                <a:gd name="connsiteX152" fmla="*/ 192979 w 572723"/>
                <a:gd name="connsiteY152" fmla="*/ 10443 h 608067"/>
                <a:gd name="connsiteX153" fmla="*/ 175929 w 572723"/>
                <a:gd name="connsiteY153" fmla="*/ 19467 h 608067"/>
                <a:gd name="connsiteX154" fmla="*/ 159882 w 572723"/>
                <a:gd name="connsiteY154" fmla="*/ 29494 h 608067"/>
                <a:gd name="connsiteX155" fmla="*/ 151859 w 572723"/>
                <a:gd name="connsiteY155" fmla="*/ 34508 h 608067"/>
                <a:gd name="connsiteX156" fmla="*/ 146844 w 572723"/>
                <a:gd name="connsiteY156" fmla="*/ 39522 h 608067"/>
                <a:gd name="connsiteX157" fmla="*/ 142832 w 572723"/>
                <a:gd name="connsiteY157" fmla="*/ 38519 h 608067"/>
                <a:gd name="connsiteX158" fmla="*/ 141829 w 572723"/>
                <a:gd name="connsiteY158" fmla="*/ 39522 h 608067"/>
                <a:gd name="connsiteX159" fmla="*/ 137818 w 572723"/>
                <a:gd name="connsiteY159" fmla="*/ 40524 h 608067"/>
                <a:gd name="connsiteX160" fmla="*/ 124780 w 572723"/>
                <a:gd name="connsiteY160" fmla="*/ 50552 h 608067"/>
                <a:gd name="connsiteX161" fmla="*/ 112744 w 572723"/>
                <a:gd name="connsiteY161" fmla="*/ 62584 h 608067"/>
                <a:gd name="connsiteX162" fmla="*/ 118762 w 572723"/>
                <a:gd name="connsiteY162" fmla="*/ 50552 h 608067"/>
                <a:gd name="connsiteX163" fmla="*/ 119765 w 572723"/>
                <a:gd name="connsiteY163" fmla="*/ 50552 h 608067"/>
                <a:gd name="connsiteX164" fmla="*/ 122774 w 572723"/>
                <a:gd name="connsiteY164" fmla="*/ 45538 h 608067"/>
                <a:gd name="connsiteX165" fmla="*/ 109736 w 572723"/>
                <a:gd name="connsiteY165" fmla="*/ 57571 h 608067"/>
                <a:gd name="connsiteX166" fmla="*/ 106727 w 572723"/>
                <a:gd name="connsiteY166" fmla="*/ 59576 h 608067"/>
                <a:gd name="connsiteX167" fmla="*/ 106727 w 572723"/>
                <a:gd name="connsiteY167" fmla="*/ 59576 h 608067"/>
                <a:gd name="connsiteX168" fmla="*/ 104721 w 572723"/>
                <a:gd name="connsiteY168" fmla="*/ 59576 h 608067"/>
                <a:gd name="connsiteX169" fmla="*/ 104721 w 572723"/>
                <a:gd name="connsiteY169" fmla="*/ 58573 h 608067"/>
                <a:gd name="connsiteX170" fmla="*/ 93688 w 572723"/>
                <a:gd name="connsiteY170" fmla="*/ 68601 h 608067"/>
                <a:gd name="connsiteX171" fmla="*/ 80650 w 572723"/>
                <a:gd name="connsiteY171" fmla="*/ 84644 h 608067"/>
                <a:gd name="connsiteX172" fmla="*/ 78644 w 572723"/>
                <a:gd name="connsiteY172" fmla="*/ 88655 h 608067"/>
                <a:gd name="connsiteX173" fmla="*/ 58586 w 572723"/>
                <a:gd name="connsiteY173" fmla="*/ 112721 h 608067"/>
                <a:gd name="connsiteX174" fmla="*/ 61595 w 572723"/>
                <a:gd name="connsiteY174" fmla="*/ 113723 h 608067"/>
                <a:gd name="connsiteX175" fmla="*/ 56580 w 572723"/>
                <a:gd name="connsiteY175" fmla="*/ 121745 h 608067"/>
                <a:gd name="connsiteX176" fmla="*/ 51565 w 572723"/>
                <a:gd name="connsiteY176" fmla="*/ 123751 h 608067"/>
                <a:gd name="connsiteX177" fmla="*/ 46550 w 572723"/>
                <a:gd name="connsiteY177" fmla="*/ 124753 h 608067"/>
                <a:gd name="connsiteX178" fmla="*/ 40533 w 572723"/>
                <a:gd name="connsiteY178" fmla="*/ 136786 h 608067"/>
                <a:gd name="connsiteX179" fmla="*/ 39530 w 572723"/>
                <a:gd name="connsiteY179" fmla="*/ 144808 h 608067"/>
                <a:gd name="connsiteX180" fmla="*/ 31506 w 572723"/>
                <a:gd name="connsiteY180" fmla="*/ 156841 h 608067"/>
                <a:gd name="connsiteX181" fmla="*/ 29501 w 572723"/>
                <a:gd name="connsiteY181" fmla="*/ 154835 h 608067"/>
                <a:gd name="connsiteX182" fmla="*/ 19471 w 572723"/>
                <a:gd name="connsiteY182" fmla="*/ 173887 h 608067"/>
                <a:gd name="connsiteX183" fmla="*/ 16462 w 572723"/>
                <a:gd name="connsiteY183" fmla="*/ 194944 h 608067"/>
                <a:gd name="connsiteX184" fmla="*/ 17465 w 572723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0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1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6" y="569964"/>
                    <a:pt x="467784" y="555925"/>
                    <a:pt x="476810" y="546901"/>
                  </a:cubicBezTo>
                  <a:cubicBezTo>
                    <a:pt x="475807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3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39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6" y="319282"/>
                    <a:pt x="575098" y="283184"/>
                    <a:pt x="571086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1"/>
                    <a:pt x="493860" y="114726"/>
                    <a:pt x="469790" y="96677"/>
                  </a:cubicBezTo>
                  <a:cubicBezTo>
                    <a:pt x="459760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2"/>
                    <a:pt x="384540" y="76622"/>
                  </a:cubicBezTo>
                  <a:cubicBezTo>
                    <a:pt x="380528" y="76622"/>
                    <a:pt x="376517" y="76622"/>
                    <a:pt x="372505" y="76622"/>
                  </a:cubicBezTo>
                  <a:cubicBezTo>
                    <a:pt x="368493" y="76622"/>
                    <a:pt x="363479" y="76622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4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3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8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6"/>
                    <a:pt x="64603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7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2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8" y="64590"/>
                  </a:cubicBezTo>
                  <a:cubicBezTo>
                    <a:pt x="171918" y="63587"/>
                    <a:pt x="173923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8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5" y="25483"/>
                    <a:pt x="273214" y="26486"/>
                  </a:cubicBezTo>
                  <a:cubicBezTo>
                    <a:pt x="269202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2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49" y="7434"/>
                    <a:pt x="284246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3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3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8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4" y="87652"/>
                    <a:pt x="80650" y="85647"/>
                    <a:pt x="78644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9471" y="207980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088A53C9-7CE7-AD48-8870-F4DF2FF74E86}"/>
              </a:ext>
            </a:extLst>
          </p:cNvPr>
          <p:cNvGrpSpPr/>
          <p:nvPr userDrawn="1"/>
        </p:nvGrpSpPr>
        <p:grpSpPr>
          <a:xfrm>
            <a:off x="1308676" y="5490022"/>
            <a:ext cx="580929" cy="906402"/>
            <a:chOff x="4467788" y="4090750"/>
            <a:chExt cx="580929" cy="906402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4566AFE7-5DED-5B48-97A5-4133C1C75FB4}"/>
                </a:ext>
              </a:extLst>
            </p:cNvPr>
            <p:cNvSpPr txBox="1"/>
            <p:nvPr/>
          </p:nvSpPr>
          <p:spPr>
            <a:xfrm>
              <a:off x="4521008" y="4090750"/>
              <a:ext cx="527709" cy="9064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290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5</a:t>
              </a:r>
            </a:p>
          </p:txBody>
        </p:sp>
        <p:sp>
          <p:nvSpPr>
            <p:cNvPr id="18" name="Kombinationstegning 17">
              <a:extLst>
                <a:ext uri="{FF2B5EF4-FFF2-40B4-BE49-F238E27FC236}">
                  <a16:creationId xmlns:a16="http://schemas.microsoft.com/office/drawing/2014/main" id="{389A7E92-22F2-8647-871D-CC13CB86CC94}"/>
                </a:ext>
              </a:extLst>
            </p:cNvPr>
            <p:cNvSpPr/>
            <p:nvPr/>
          </p:nvSpPr>
          <p:spPr>
            <a:xfrm>
              <a:off x="4467788" y="4173686"/>
              <a:ext cx="572723" cy="606061"/>
            </a:xfrm>
            <a:custGeom>
              <a:avLst/>
              <a:gdLst>
                <a:gd name="connsiteX0" fmla="*/ 17465 w 572723"/>
                <a:gd name="connsiteY0" fmla="*/ 204971 h 606061"/>
                <a:gd name="connsiteX1" fmla="*/ 15460 w 572723"/>
                <a:gd name="connsiteY1" fmla="*/ 211990 h 606061"/>
                <a:gd name="connsiteX2" fmla="*/ 40533 w 572723"/>
                <a:gd name="connsiteY2" fmla="*/ 140797 h 606061"/>
                <a:gd name="connsiteX3" fmla="*/ 6433 w 572723"/>
                <a:gd name="connsiteY3" fmla="*/ 221015 h 606061"/>
                <a:gd name="connsiteX4" fmla="*/ 8439 w 572723"/>
                <a:gd name="connsiteY4" fmla="*/ 298225 h 606061"/>
                <a:gd name="connsiteX5" fmla="*/ 415 w 572723"/>
                <a:gd name="connsiteY5" fmla="*/ 329309 h 606061"/>
                <a:gd name="connsiteX6" fmla="*/ 1418 w 572723"/>
                <a:gd name="connsiteY6" fmla="*/ 357386 h 606061"/>
                <a:gd name="connsiteX7" fmla="*/ 10445 w 572723"/>
                <a:gd name="connsiteY7" fmla="*/ 390476 h 606061"/>
                <a:gd name="connsiteX8" fmla="*/ 4427 w 572723"/>
                <a:gd name="connsiteY8" fmla="*/ 367413 h 606061"/>
                <a:gd name="connsiteX9" fmla="*/ 10445 w 572723"/>
                <a:gd name="connsiteY9" fmla="*/ 390476 h 606061"/>
                <a:gd name="connsiteX10" fmla="*/ 29501 w 572723"/>
                <a:gd name="connsiteY10" fmla="*/ 443620 h 606061"/>
                <a:gd name="connsiteX11" fmla="*/ 60592 w 572723"/>
                <a:gd name="connsiteY11" fmla="*/ 494759 h 606061"/>
                <a:gd name="connsiteX12" fmla="*/ 156874 w 572723"/>
                <a:gd name="connsiteY12" fmla="*/ 567958 h 606061"/>
                <a:gd name="connsiteX13" fmla="*/ 257167 w 572723"/>
                <a:gd name="connsiteY13" fmla="*/ 599043 h 606061"/>
                <a:gd name="connsiteX14" fmla="*/ 317344 w 572723"/>
                <a:gd name="connsiteY14" fmla="*/ 606062 h 606061"/>
                <a:gd name="connsiteX15" fmla="*/ 364481 w 572723"/>
                <a:gd name="connsiteY15" fmla="*/ 605059 h 606061"/>
                <a:gd name="connsiteX16" fmla="*/ 385543 w 572723"/>
                <a:gd name="connsiteY16" fmla="*/ 602051 h 606061"/>
                <a:gd name="connsiteX17" fmla="*/ 362476 w 572723"/>
                <a:gd name="connsiteY17" fmla="*/ 604056 h 606061"/>
                <a:gd name="connsiteX18" fmla="*/ 438699 w 572723"/>
                <a:gd name="connsiteY18" fmla="*/ 576983 h 606061"/>
                <a:gd name="connsiteX19" fmla="*/ 422652 w 572723"/>
                <a:gd name="connsiteY19" fmla="*/ 578988 h 606061"/>
                <a:gd name="connsiteX20" fmla="*/ 434687 w 572723"/>
                <a:gd name="connsiteY20" fmla="*/ 574977 h 606061"/>
                <a:gd name="connsiteX21" fmla="*/ 476810 w 572723"/>
                <a:gd name="connsiteY21" fmla="*/ 544896 h 606061"/>
                <a:gd name="connsiteX22" fmla="*/ 490852 w 572723"/>
                <a:gd name="connsiteY22" fmla="*/ 535871 h 606061"/>
                <a:gd name="connsiteX23" fmla="*/ 487843 w 572723"/>
                <a:gd name="connsiteY23" fmla="*/ 536874 h 606061"/>
                <a:gd name="connsiteX24" fmla="*/ 521943 w 572723"/>
                <a:gd name="connsiteY24" fmla="*/ 496765 h 606061"/>
                <a:gd name="connsiteX25" fmla="*/ 543004 w 572723"/>
                <a:gd name="connsiteY25" fmla="*/ 452645 h 606061"/>
                <a:gd name="connsiteX26" fmla="*/ 547016 w 572723"/>
                <a:gd name="connsiteY26" fmla="*/ 444623 h 606061"/>
                <a:gd name="connsiteX27" fmla="*/ 553034 w 572723"/>
                <a:gd name="connsiteY27" fmla="*/ 417549 h 606061"/>
                <a:gd name="connsiteX28" fmla="*/ 559051 w 572723"/>
                <a:gd name="connsiteY28" fmla="*/ 409528 h 606061"/>
                <a:gd name="connsiteX29" fmla="*/ 566072 w 572723"/>
                <a:gd name="connsiteY29" fmla="*/ 350367 h 606061"/>
                <a:gd name="connsiteX30" fmla="*/ 571086 w 572723"/>
                <a:gd name="connsiteY30" fmla="*/ 244078 h 606061"/>
                <a:gd name="connsiteX31" fmla="*/ 528963 w 572723"/>
                <a:gd name="connsiteY31" fmla="*/ 142802 h 606061"/>
                <a:gd name="connsiteX32" fmla="*/ 528963 w 572723"/>
                <a:gd name="connsiteY32" fmla="*/ 144808 h 606061"/>
                <a:gd name="connsiteX33" fmla="*/ 469790 w 572723"/>
                <a:gd name="connsiteY33" fmla="*/ 94672 h 606061"/>
                <a:gd name="connsiteX34" fmla="*/ 437696 w 572723"/>
                <a:gd name="connsiteY34" fmla="*/ 81636 h 606061"/>
                <a:gd name="connsiteX35" fmla="*/ 422652 w 572723"/>
                <a:gd name="connsiteY35" fmla="*/ 78628 h 606061"/>
                <a:gd name="connsiteX36" fmla="*/ 412623 w 572723"/>
                <a:gd name="connsiteY36" fmla="*/ 78628 h 606061"/>
                <a:gd name="connsiteX37" fmla="*/ 397579 w 572723"/>
                <a:gd name="connsiteY37" fmla="*/ 75620 h 606061"/>
                <a:gd name="connsiteX38" fmla="*/ 384540 w 572723"/>
                <a:gd name="connsiteY38" fmla="*/ 74617 h 606061"/>
                <a:gd name="connsiteX39" fmla="*/ 372505 w 572723"/>
                <a:gd name="connsiteY39" fmla="*/ 74617 h 606061"/>
                <a:gd name="connsiteX40" fmla="*/ 357461 w 572723"/>
                <a:gd name="connsiteY40" fmla="*/ 75620 h 606061"/>
                <a:gd name="connsiteX41" fmla="*/ 350440 w 572723"/>
                <a:gd name="connsiteY41" fmla="*/ 78628 h 606061"/>
                <a:gd name="connsiteX42" fmla="*/ 347432 w 572723"/>
                <a:gd name="connsiteY42" fmla="*/ 80633 h 606061"/>
                <a:gd name="connsiteX43" fmla="*/ 374511 w 572723"/>
                <a:gd name="connsiteY43" fmla="*/ 83642 h 606061"/>
                <a:gd name="connsiteX44" fmla="*/ 374511 w 572723"/>
                <a:gd name="connsiteY44" fmla="*/ 82639 h 606061"/>
                <a:gd name="connsiteX45" fmla="*/ 451737 w 572723"/>
                <a:gd name="connsiteY45" fmla="*/ 113723 h 606061"/>
                <a:gd name="connsiteX46" fmla="*/ 507902 w 572723"/>
                <a:gd name="connsiteY46" fmla="*/ 173887 h 606061"/>
                <a:gd name="connsiteX47" fmla="*/ 528963 w 572723"/>
                <a:gd name="connsiteY47" fmla="*/ 226029 h 606061"/>
                <a:gd name="connsiteX48" fmla="*/ 531972 w 572723"/>
                <a:gd name="connsiteY48" fmla="*/ 286192 h 606061"/>
                <a:gd name="connsiteX49" fmla="*/ 524951 w 572723"/>
                <a:gd name="connsiteY49" fmla="*/ 355380 h 606061"/>
                <a:gd name="connsiteX50" fmla="*/ 513919 w 572723"/>
                <a:gd name="connsiteY50" fmla="*/ 418552 h 606061"/>
                <a:gd name="connsiteX51" fmla="*/ 503890 w 572723"/>
                <a:gd name="connsiteY51" fmla="*/ 439609 h 606061"/>
                <a:gd name="connsiteX52" fmla="*/ 477813 w 572723"/>
                <a:gd name="connsiteY52" fmla="*/ 487740 h 606061"/>
                <a:gd name="connsiteX53" fmla="*/ 434687 w 572723"/>
                <a:gd name="connsiteY53" fmla="*/ 525844 h 606061"/>
                <a:gd name="connsiteX54" fmla="*/ 436693 w 572723"/>
                <a:gd name="connsiteY54" fmla="*/ 524841 h 606061"/>
                <a:gd name="connsiteX55" fmla="*/ 385543 w 572723"/>
                <a:gd name="connsiteY55" fmla="*/ 543893 h 606061"/>
                <a:gd name="connsiteX56" fmla="*/ 381531 w 572723"/>
                <a:gd name="connsiteY56" fmla="*/ 545898 h 606061"/>
                <a:gd name="connsiteX57" fmla="*/ 361473 w 572723"/>
                <a:gd name="connsiteY57" fmla="*/ 548906 h 606061"/>
                <a:gd name="connsiteX58" fmla="*/ 320352 w 572723"/>
                <a:gd name="connsiteY58" fmla="*/ 554923 h 606061"/>
                <a:gd name="connsiteX59" fmla="*/ 254158 w 572723"/>
                <a:gd name="connsiteY59" fmla="*/ 551915 h 606061"/>
                <a:gd name="connsiteX60" fmla="*/ 247138 w 572723"/>
                <a:gd name="connsiteY60" fmla="*/ 550912 h 606061"/>
                <a:gd name="connsiteX61" fmla="*/ 184956 w 572723"/>
                <a:gd name="connsiteY61" fmla="*/ 527849 h 606061"/>
                <a:gd name="connsiteX62" fmla="*/ 133806 w 572723"/>
                <a:gd name="connsiteY62" fmla="*/ 498770 h 606061"/>
                <a:gd name="connsiteX63" fmla="*/ 112744 w 572723"/>
                <a:gd name="connsiteY63" fmla="*/ 488743 h 606061"/>
                <a:gd name="connsiteX64" fmla="*/ 100709 w 572723"/>
                <a:gd name="connsiteY64" fmla="*/ 478716 h 606061"/>
                <a:gd name="connsiteX65" fmla="*/ 87671 w 572723"/>
                <a:gd name="connsiteY65" fmla="*/ 462672 h 606061"/>
                <a:gd name="connsiteX66" fmla="*/ 64603 w 572723"/>
                <a:gd name="connsiteY66" fmla="*/ 423566 h 606061"/>
                <a:gd name="connsiteX67" fmla="*/ 56580 w 572723"/>
                <a:gd name="connsiteY67" fmla="*/ 405517 h 606061"/>
                <a:gd name="connsiteX68" fmla="*/ 55577 w 572723"/>
                <a:gd name="connsiteY68" fmla="*/ 393484 h 606061"/>
                <a:gd name="connsiteX69" fmla="*/ 51565 w 572723"/>
                <a:gd name="connsiteY69" fmla="*/ 367413 h 606061"/>
                <a:gd name="connsiteX70" fmla="*/ 47553 w 572723"/>
                <a:gd name="connsiteY70" fmla="*/ 345353 h 606061"/>
                <a:gd name="connsiteX71" fmla="*/ 43542 w 572723"/>
                <a:gd name="connsiteY71" fmla="*/ 323293 h 606061"/>
                <a:gd name="connsiteX72" fmla="*/ 43542 w 572723"/>
                <a:gd name="connsiteY72" fmla="*/ 326301 h 606061"/>
                <a:gd name="connsiteX73" fmla="*/ 48556 w 572723"/>
                <a:gd name="connsiteY73" fmla="*/ 278170 h 606061"/>
                <a:gd name="connsiteX74" fmla="*/ 61595 w 572723"/>
                <a:gd name="connsiteY74" fmla="*/ 203969 h 606061"/>
                <a:gd name="connsiteX75" fmla="*/ 89677 w 572723"/>
                <a:gd name="connsiteY75" fmla="*/ 137789 h 606061"/>
                <a:gd name="connsiteX76" fmla="*/ 82656 w 572723"/>
                <a:gd name="connsiteY76" fmla="*/ 145811 h 606061"/>
                <a:gd name="connsiteX77" fmla="*/ 132803 w 572723"/>
                <a:gd name="connsiteY77" fmla="*/ 85647 h 606061"/>
                <a:gd name="connsiteX78" fmla="*/ 143835 w 572723"/>
                <a:gd name="connsiteY78" fmla="*/ 79631 h 606061"/>
                <a:gd name="connsiteX79" fmla="*/ 151859 w 572723"/>
                <a:gd name="connsiteY79" fmla="*/ 72612 h 606061"/>
                <a:gd name="connsiteX80" fmla="*/ 153865 w 572723"/>
                <a:gd name="connsiteY80" fmla="*/ 73614 h 606061"/>
                <a:gd name="connsiteX81" fmla="*/ 171918 w 572723"/>
                <a:gd name="connsiteY81" fmla="*/ 62584 h 606061"/>
                <a:gd name="connsiteX82" fmla="*/ 176932 w 572723"/>
                <a:gd name="connsiteY82" fmla="*/ 58573 h 606061"/>
                <a:gd name="connsiteX83" fmla="*/ 184956 w 572723"/>
                <a:gd name="connsiteY83" fmla="*/ 56568 h 606061"/>
                <a:gd name="connsiteX84" fmla="*/ 184956 w 572723"/>
                <a:gd name="connsiteY84" fmla="*/ 56568 h 606061"/>
                <a:gd name="connsiteX85" fmla="*/ 189970 w 572723"/>
                <a:gd name="connsiteY85" fmla="*/ 54563 h 606061"/>
                <a:gd name="connsiteX86" fmla="*/ 206018 w 572723"/>
                <a:gd name="connsiteY86" fmla="*/ 43533 h 606061"/>
                <a:gd name="connsiteX87" fmla="*/ 223067 w 572723"/>
                <a:gd name="connsiteY87" fmla="*/ 33505 h 606061"/>
                <a:gd name="connsiteX88" fmla="*/ 225073 w 572723"/>
                <a:gd name="connsiteY88" fmla="*/ 33505 h 606061"/>
                <a:gd name="connsiteX89" fmla="*/ 228082 w 572723"/>
                <a:gd name="connsiteY89" fmla="*/ 30497 h 606061"/>
                <a:gd name="connsiteX90" fmla="*/ 234100 w 572723"/>
                <a:gd name="connsiteY90" fmla="*/ 29494 h 606061"/>
                <a:gd name="connsiteX91" fmla="*/ 233097 w 572723"/>
                <a:gd name="connsiteY91" fmla="*/ 29494 h 606061"/>
                <a:gd name="connsiteX92" fmla="*/ 239114 w 572723"/>
                <a:gd name="connsiteY92" fmla="*/ 28492 h 606061"/>
                <a:gd name="connsiteX93" fmla="*/ 240117 w 572723"/>
                <a:gd name="connsiteY93" fmla="*/ 30497 h 606061"/>
                <a:gd name="connsiteX94" fmla="*/ 250147 w 572723"/>
                <a:gd name="connsiteY94" fmla="*/ 28492 h 606061"/>
                <a:gd name="connsiteX95" fmla="*/ 219056 w 572723"/>
                <a:gd name="connsiteY95" fmla="*/ 29494 h 606061"/>
                <a:gd name="connsiteX96" fmla="*/ 234100 w 572723"/>
                <a:gd name="connsiteY96" fmla="*/ 25483 h 606061"/>
                <a:gd name="connsiteX97" fmla="*/ 245132 w 572723"/>
                <a:gd name="connsiteY97" fmla="*/ 25483 h 606061"/>
                <a:gd name="connsiteX98" fmla="*/ 258170 w 572723"/>
                <a:gd name="connsiteY98" fmla="*/ 25483 h 606061"/>
                <a:gd name="connsiteX99" fmla="*/ 265191 w 572723"/>
                <a:gd name="connsiteY99" fmla="*/ 23478 h 606061"/>
                <a:gd name="connsiteX100" fmla="*/ 273214 w 572723"/>
                <a:gd name="connsiteY100" fmla="*/ 24481 h 606061"/>
                <a:gd name="connsiteX101" fmla="*/ 261179 w 572723"/>
                <a:gd name="connsiteY101" fmla="*/ 25483 h 606061"/>
                <a:gd name="connsiteX102" fmla="*/ 266194 w 572723"/>
                <a:gd name="connsiteY102" fmla="*/ 26486 h 606061"/>
                <a:gd name="connsiteX103" fmla="*/ 273214 w 572723"/>
                <a:gd name="connsiteY103" fmla="*/ 26486 h 606061"/>
                <a:gd name="connsiteX104" fmla="*/ 287255 w 572723"/>
                <a:gd name="connsiteY104" fmla="*/ 26486 h 606061"/>
                <a:gd name="connsiteX105" fmla="*/ 293273 w 572723"/>
                <a:gd name="connsiteY105" fmla="*/ 29494 h 606061"/>
                <a:gd name="connsiteX106" fmla="*/ 297285 w 572723"/>
                <a:gd name="connsiteY106" fmla="*/ 28492 h 606061"/>
                <a:gd name="connsiteX107" fmla="*/ 289261 w 572723"/>
                <a:gd name="connsiteY107" fmla="*/ 23478 h 606061"/>
                <a:gd name="connsiteX108" fmla="*/ 300294 w 572723"/>
                <a:gd name="connsiteY108" fmla="*/ 25483 h 606061"/>
                <a:gd name="connsiteX109" fmla="*/ 300294 w 572723"/>
                <a:gd name="connsiteY109" fmla="*/ 23478 h 606061"/>
                <a:gd name="connsiteX110" fmla="*/ 310323 w 572723"/>
                <a:gd name="connsiteY110" fmla="*/ 25483 h 606061"/>
                <a:gd name="connsiteX111" fmla="*/ 307314 w 572723"/>
                <a:gd name="connsiteY111" fmla="*/ 24481 h 606061"/>
                <a:gd name="connsiteX112" fmla="*/ 296282 w 572723"/>
                <a:gd name="connsiteY112" fmla="*/ 26486 h 606061"/>
                <a:gd name="connsiteX113" fmla="*/ 286252 w 572723"/>
                <a:gd name="connsiteY113" fmla="*/ 28492 h 606061"/>
                <a:gd name="connsiteX114" fmla="*/ 299291 w 572723"/>
                <a:gd name="connsiteY114" fmla="*/ 25483 h 606061"/>
                <a:gd name="connsiteX115" fmla="*/ 311326 w 572723"/>
                <a:gd name="connsiteY115" fmla="*/ 24481 h 606061"/>
                <a:gd name="connsiteX116" fmla="*/ 311326 w 572723"/>
                <a:gd name="connsiteY116" fmla="*/ 21473 h 606061"/>
                <a:gd name="connsiteX117" fmla="*/ 307314 w 572723"/>
                <a:gd name="connsiteY117" fmla="*/ 22475 h 606061"/>
                <a:gd name="connsiteX118" fmla="*/ 303302 w 572723"/>
                <a:gd name="connsiteY118" fmla="*/ 18464 h 606061"/>
                <a:gd name="connsiteX119" fmla="*/ 296282 w 572723"/>
                <a:gd name="connsiteY119" fmla="*/ 21473 h 606061"/>
                <a:gd name="connsiteX120" fmla="*/ 288258 w 572723"/>
                <a:gd name="connsiteY120" fmla="*/ 23478 h 606061"/>
                <a:gd name="connsiteX121" fmla="*/ 290264 w 572723"/>
                <a:gd name="connsiteY121" fmla="*/ 24481 h 606061"/>
                <a:gd name="connsiteX122" fmla="*/ 302300 w 572723"/>
                <a:gd name="connsiteY122" fmla="*/ 25483 h 606061"/>
                <a:gd name="connsiteX123" fmla="*/ 309320 w 572723"/>
                <a:gd name="connsiteY123" fmla="*/ 24481 h 606061"/>
                <a:gd name="connsiteX124" fmla="*/ 310323 w 572723"/>
                <a:gd name="connsiteY124" fmla="*/ 24481 h 606061"/>
                <a:gd name="connsiteX125" fmla="*/ 316341 w 572723"/>
                <a:gd name="connsiteY125" fmla="*/ 23478 h 606061"/>
                <a:gd name="connsiteX126" fmla="*/ 314335 w 572723"/>
                <a:gd name="connsiteY126" fmla="*/ 16459 h 606061"/>
                <a:gd name="connsiteX127" fmla="*/ 313332 w 572723"/>
                <a:gd name="connsiteY127" fmla="*/ 9440 h 606061"/>
                <a:gd name="connsiteX128" fmla="*/ 302300 w 572723"/>
                <a:gd name="connsiteY128" fmla="*/ 10443 h 606061"/>
                <a:gd name="connsiteX129" fmla="*/ 292270 w 572723"/>
                <a:gd name="connsiteY129" fmla="*/ 6432 h 606061"/>
                <a:gd name="connsiteX130" fmla="*/ 288258 w 572723"/>
                <a:gd name="connsiteY130" fmla="*/ 7434 h 606061"/>
                <a:gd name="connsiteX131" fmla="*/ 281238 w 572723"/>
                <a:gd name="connsiteY131" fmla="*/ 4426 h 606061"/>
                <a:gd name="connsiteX132" fmla="*/ 270205 w 572723"/>
                <a:gd name="connsiteY132" fmla="*/ 4426 h 606061"/>
                <a:gd name="connsiteX133" fmla="*/ 267197 w 572723"/>
                <a:gd name="connsiteY133" fmla="*/ 6432 h 606061"/>
                <a:gd name="connsiteX134" fmla="*/ 247138 w 572723"/>
                <a:gd name="connsiteY134" fmla="*/ 7434 h 606061"/>
                <a:gd name="connsiteX135" fmla="*/ 243126 w 572723"/>
                <a:gd name="connsiteY135" fmla="*/ 2421 h 606061"/>
                <a:gd name="connsiteX136" fmla="*/ 250147 w 572723"/>
                <a:gd name="connsiteY136" fmla="*/ 4426 h 606061"/>
                <a:gd name="connsiteX137" fmla="*/ 260176 w 572723"/>
                <a:gd name="connsiteY137" fmla="*/ 415 h 606061"/>
                <a:gd name="connsiteX138" fmla="*/ 245132 w 572723"/>
                <a:gd name="connsiteY138" fmla="*/ 1418 h 606061"/>
                <a:gd name="connsiteX139" fmla="*/ 246135 w 572723"/>
                <a:gd name="connsiteY139" fmla="*/ 1418 h 606061"/>
                <a:gd name="connsiteX140" fmla="*/ 226076 w 572723"/>
                <a:gd name="connsiteY140" fmla="*/ 4426 h 606061"/>
                <a:gd name="connsiteX141" fmla="*/ 228082 w 572723"/>
                <a:gd name="connsiteY141" fmla="*/ 1418 h 606061"/>
                <a:gd name="connsiteX142" fmla="*/ 220059 w 572723"/>
                <a:gd name="connsiteY142" fmla="*/ 4426 h 606061"/>
                <a:gd name="connsiteX143" fmla="*/ 220059 w 572723"/>
                <a:gd name="connsiteY143" fmla="*/ 5429 h 606061"/>
                <a:gd name="connsiteX144" fmla="*/ 211032 w 572723"/>
                <a:gd name="connsiteY144" fmla="*/ 7434 h 606061"/>
                <a:gd name="connsiteX145" fmla="*/ 194985 w 572723"/>
                <a:gd name="connsiteY145" fmla="*/ 15456 h 606061"/>
                <a:gd name="connsiteX146" fmla="*/ 180944 w 572723"/>
                <a:gd name="connsiteY146" fmla="*/ 24481 h 606061"/>
                <a:gd name="connsiteX147" fmla="*/ 170915 w 572723"/>
                <a:gd name="connsiteY147" fmla="*/ 28492 h 606061"/>
                <a:gd name="connsiteX148" fmla="*/ 176932 w 572723"/>
                <a:gd name="connsiteY148" fmla="*/ 25483 h 606061"/>
                <a:gd name="connsiteX149" fmla="*/ 189970 w 572723"/>
                <a:gd name="connsiteY149" fmla="*/ 17462 h 606061"/>
                <a:gd name="connsiteX150" fmla="*/ 203009 w 572723"/>
                <a:gd name="connsiteY150" fmla="*/ 10443 h 606061"/>
                <a:gd name="connsiteX151" fmla="*/ 206018 w 572723"/>
                <a:gd name="connsiteY151" fmla="*/ 8437 h 606061"/>
                <a:gd name="connsiteX152" fmla="*/ 195988 w 572723"/>
                <a:gd name="connsiteY152" fmla="*/ 12448 h 606061"/>
                <a:gd name="connsiteX153" fmla="*/ 178938 w 572723"/>
                <a:gd name="connsiteY153" fmla="*/ 21473 h 606061"/>
                <a:gd name="connsiteX154" fmla="*/ 162891 w 572723"/>
                <a:gd name="connsiteY154" fmla="*/ 31500 h 606061"/>
                <a:gd name="connsiteX155" fmla="*/ 154868 w 572723"/>
                <a:gd name="connsiteY155" fmla="*/ 36513 h 606061"/>
                <a:gd name="connsiteX156" fmla="*/ 149853 w 572723"/>
                <a:gd name="connsiteY156" fmla="*/ 41527 h 606061"/>
                <a:gd name="connsiteX157" fmla="*/ 145841 w 572723"/>
                <a:gd name="connsiteY157" fmla="*/ 40524 h 606061"/>
                <a:gd name="connsiteX158" fmla="*/ 144838 w 572723"/>
                <a:gd name="connsiteY158" fmla="*/ 41527 h 606061"/>
                <a:gd name="connsiteX159" fmla="*/ 140827 w 572723"/>
                <a:gd name="connsiteY159" fmla="*/ 42530 h 606061"/>
                <a:gd name="connsiteX160" fmla="*/ 127788 w 572723"/>
                <a:gd name="connsiteY160" fmla="*/ 52557 h 606061"/>
                <a:gd name="connsiteX161" fmla="*/ 115753 w 572723"/>
                <a:gd name="connsiteY161" fmla="*/ 64590 h 606061"/>
                <a:gd name="connsiteX162" fmla="*/ 121771 w 572723"/>
                <a:gd name="connsiteY162" fmla="*/ 52557 h 606061"/>
                <a:gd name="connsiteX163" fmla="*/ 122774 w 572723"/>
                <a:gd name="connsiteY163" fmla="*/ 52557 h 606061"/>
                <a:gd name="connsiteX164" fmla="*/ 125783 w 572723"/>
                <a:gd name="connsiteY164" fmla="*/ 47543 h 606061"/>
                <a:gd name="connsiteX165" fmla="*/ 112744 w 572723"/>
                <a:gd name="connsiteY165" fmla="*/ 59576 h 606061"/>
                <a:gd name="connsiteX166" fmla="*/ 109736 w 572723"/>
                <a:gd name="connsiteY166" fmla="*/ 61582 h 606061"/>
                <a:gd name="connsiteX167" fmla="*/ 109736 w 572723"/>
                <a:gd name="connsiteY167" fmla="*/ 61582 h 606061"/>
                <a:gd name="connsiteX168" fmla="*/ 107730 w 572723"/>
                <a:gd name="connsiteY168" fmla="*/ 61582 h 606061"/>
                <a:gd name="connsiteX169" fmla="*/ 107730 w 572723"/>
                <a:gd name="connsiteY169" fmla="*/ 60579 h 606061"/>
                <a:gd name="connsiteX170" fmla="*/ 96697 w 572723"/>
                <a:gd name="connsiteY170" fmla="*/ 70606 h 606061"/>
                <a:gd name="connsiteX171" fmla="*/ 83659 w 572723"/>
                <a:gd name="connsiteY171" fmla="*/ 86650 h 606061"/>
                <a:gd name="connsiteX172" fmla="*/ 81653 w 572723"/>
                <a:gd name="connsiteY172" fmla="*/ 90661 h 606061"/>
                <a:gd name="connsiteX173" fmla="*/ 61595 w 572723"/>
                <a:gd name="connsiteY173" fmla="*/ 114726 h 606061"/>
                <a:gd name="connsiteX174" fmla="*/ 64603 w 572723"/>
                <a:gd name="connsiteY174" fmla="*/ 115729 h 606061"/>
                <a:gd name="connsiteX175" fmla="*/ 59589 w 572723"/>
                <a:gd name="connsiteY175" fmla="*/ 123751 h 606061"/>
                <a:gd name="connsiteX176" fmla="*/ 54574 w 572723"/>
                <a:gd name="connsiteY176" fmla="*/ 125756 h 606061"/>
                <a:gd name="connsiteX177" fmla="*/ 49559 w 572723"/>
                <a:gd name="connsiteY177" fmla="*/ 126759 h 606061"/>
                <a:gd name="connsiteX178" fmla="*/ 43542 w 572723"/>
                <a:gd name="connsiteY178" fmla="*/ 138792 h 606061"/>
                <a:gd name="connsiteX179" fmla="*/ 42539 w 572723"/>
                <a:gd name="connsiteY179" fmla="*/ 146813 h 606061"/>
                <a:gd name="connsiteX180" fmla="*/ 34515 w 572723"/>
                <a:gd name="connsiteY180" fmla="*/ 158846 h 606061"/>
                <a:gd name="connsiteX181" fmla="*/ 32509 w 572723"/>
                <a:gd name="connsiteY181" fmla="*/ 156841 h 606061"/>
                <a:gd name="connsiteX182" fmla="*/ 22480 w 572723"/>
                <a:gd name="connsiteY182" fmla="*/ 175892 h 606061"/>
                <a:gd name="connsiteX183" fmla="*/ 19471 w 572723"/>
                <a:gd name="connsiteY183" fmla="*/ 196950 h 606061"/>
                <a:gd name="connsiteX184" fmla="*/ 17465 w 572723"/>
                <a:gd name="connsiteY184" fmla="*/ 204971 h 606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6061">
                  <a:moveTo>
                    <a:pt x="17465" y="204971"/>
                  </a:moveTo>
                  <a:lnTo>
                    <a:pt x="15460" y="211990"/>
                  </a:lnTo>
                  <a:cubicBezTo>
                    <a:pt x="20474" y="187925"/>
                    <a:pt x="29501" y="163860"/>
                    <a:pt x="40533" y="140797"/>
                  </a:cubicBezTo>
                  <a:cubicBezTo>
                    <a:pt x="25489" y="163860"/>
                    <a:pt x="12451" y="192939"/>
                    <a:pt x="6433" y="221015"/>
                  </a:cubicBezTo>
                  <a:cubicBezTo>
                    <a:pt x="415" y="249091"/>
                    <a:pt x="1418" y="277168"/>
                    <a:pt x="8439" y="298225"/>
                  </a:cubicBezTo>
                  <a:cubicBezTo>
                    <a:pt x="4427" y="300230"/>
                    <a:pt x="1418" y="315271"/>
                    <a:pt x="415" y="329309"/>
                  </a:cubicBezTo>
                  <a:cubicBezTo>
                    <a:pt x="-588" y="343348"/>
                    <a:pt x="415" y="357386"/>
                    <a:pt x="1418" y="357386"/>
                  </a:cubicBezTo>
                  <a:cubicBezTo>
                    <a:pt x="4427" y="368416"/>
                    <a:pt x="7436" y="379446"/>
                    <a:pt x="10445" y="390476"/>
                  </a:cubicBezTo>
                  <a:cubicBezTo>
                    <a:pt x="8439" y="382454"/>
                    <a:pt x="6433" y="375435"/>
                    <a:pt x="4427" y="367413"/>
                  </a:cubicBezTo>
                  <a:cubicBezTo>
                    <a:pt x="6433" y="374432"/>
                    <a:pt x="8439" y="382454"/>
                    <a:pt x="10445" y="390476"/>
                  </a:cubicBezTo>
                  <a:cubicBezTo>
                    <a:pt x="15460" y="407522"/>
                    <a:pt x="21477" y="425571"/>
                    <a:pt x="29501" y="443620"/>
                  </a:cubicBezTo>
                  <a:cubicBezTo>
                    <a:pt x="37524" y="461669"/>
                    <a:pt x="47553" y="478716"/>
                    <a:pt x="60592" y="494759"/>
                  </a:cubicBezTo>
                  <a:cubicBezTo>
                    <a:pt x="86668" y="525844"/>
                    <a:pt x="120768" y="549909"/>
                    <a:pt x="156874" y="567958"/>
                  </a:cubicBezTo>
                  <a:cubicBezTo>
                    <a:pt x="176932" y="577985"/>
                    <a:pt x="216047" y="592024"/>
                    <a:pt x="257167" y="599043"/>
                  </a:cubicBezTo>
                  <a:cubicBezTo>
                    <a:pt x="278229" y="603054"/>
                    <a:pt x="299291" y="605059"/>
                    <a:pt x="317344" y="606062"/>
                  </a:cubicBezTo>
                  <a:cubicBezTo>
                    <a:pt x="336399" y="606062"/>
                    <a:pt x="353449" y="606062"/>
                    <a:pt x="364481" y="605059"/>
                  </a:cubicBezTo>
                  <a:cubicBezTo>
                    <a:pt x="371502" y="604056"/>
                    <a:pt x="378522" y="604056"/>
                    <a:pt x="385543" y="602051"/>
                  </a:cubicBezTo>
                  <a:cubicBezTo>
                    <a:pt x="373508" y="604056"/>
                    <a:pt x="373508" y="603054"/>
                    <a:pt x="362476" y="604056"/>
                  </a:cubicBezTo>
                  <a:cubicBezTo>
                    <a:pt x="390558" y="598040"/>
                    <a:pt x="415631" y="589015"/>
                    <a:pt x="438699" y="576983"/>
                  </a:cubicBezTo>
                  <a:cubicBezTo>
                    <a:pt x="433684" y="577985"/>
                    <a:pt x="432681" y="576983"/>
                    <a:pt x="422652" y="578988"/>
                  </a:cubicBezTo>
                  <a:cubicBezTo>
                    <a:pt x="426664" y="577985"/>
                    <a:pt x="430675" y="576983"/>
                    <a:pt x="434687" y="574977"/>
                  </a:cubicBezTo>
                  <a:cubicBezTo>
                    <a:pt x="444716" y="567958"/>
                    <a:pt x="467784" y="553920"/>
                    <a:pt x="476810" y="544896"/>
                  </a:cubicBezTo>
                  <a:cubicBezTo>
                    <a:pt x="475807" y="547904"/>
                    <a:pt x="483831" y="541887"/>
                    <a:pt x="490852" y="535871"/>
                  </a:cubicBezTo>
                  <a:lnTo>
                    <a:pt x="487843" y="536874"/>
                  </a:lnTo>
                  <a:cubicBezTo>
                    <a:pt x="500881" y="525844"/>
                    <a:pt x="512916" y="511806"/>
                    <a:pt x="521943" y="496765"/>
                  </a:cubicBezTo>
                  <a:cubicBezTo>
                    <a:pt x="530969" y="481724"/>
                    <a:pt x="537990" y="465680"/>
                    <a:pt x="543004" y="452645"/>
                  </a:cubicBezTo>
                  <a:cubicBezTo>
                    <a:pt x="544007" y="448634"/>
                    <a:pt x="546013" y="446628"/>
                    <a:pt x="547016" y="444623"/>
                  </a:cubicBezTo>
                  <a:cubicBezTo>
                    <a:pt x="549022" y="435598"/>
                    <a:pt x="552031" y="426574"/>
                    <a:pt x="553034" y="417549"/>
                  </a:cubicBezTo>
                  <a:cubicBezTo>
                    <a:pt x="555039" y="420557"/>
                    <a:pt x="560054" y="395489"/>
                    <a:pt x="559051" y="409528"/>
                  </a:cubicBezTo>
                  <a:cubicBezTo>
                    <a:pt x="561057" y="388470"/>
                    <a:pt x="566072" y="369418"/>
                    <a:pt x="566072" y="350367"/>
                  </a:cubicBezTo>
                  <a:cubicBezTo>
                    <a:pt x="571086" y="317277"/>
                    <a:pt x="575098" y="281179"/>
                    <a:pt x="571086" y="244078"/>
                  </a:cubicBezTo>
                  <a:cubicBezTo>
                    <a:pt x="567075" y="206977"/>
                    <a:pt x="552031" y="169876"/>
                    <a:pt x="528963" y="142802"/>
                  </a:cubicBezTo>
                  <a:lnTo>
                    <a:pt x="528963" y="144808"/>
                  </a:lnTo>
                  <a:cubicBezTo>
                    <a:pt x="512916" y="125756"/>
                    <a:pt x="493860" y="112721"/>
                    <a:pt x="469790" y="94672"/>
                  </a:cubicBezTo>
                  <a:cubicBezTo>
                    <a:pt x="459760" y="89658"/>
                    <a:pt x="447725" y="84644"/>
                    <a:pt x="437696" y="81636"/>
                  </a:cubicBezTo>
                  <a:cubicBezTo>
                    <a:pt x="432681" y="79631"/>
                    <a:pt x="427667" y="78628"/>
                    <a:pt x="422652" y="78628"/>
                  </a:cubicBezTo>
                  <a:cubicBezTo>
                    <a:pt x="418640" y="78628"/>
                    <a:pt x="414628" y="77625"/>
                    <a:pt x="412623" y="78628"/>
                  </a:cubicBezTo>
                  <a:cubicBezTo>
                    <a:pt x="406605" y="77625"/>
                    <a:pt x="401590" y="76623"/>
                    <a:pt x="397579" y="75620"/>
                  </a:cubicBezTo>
                  <a:cubicBezTo>
                    <a:pt x="392564" y="75620"/>
                    <a:pt x="388552" y="74617"/>
                    <a:pt x="384540" y="74617"/>
                  </a:cubicBezTo>
                  <a:cubicBezTo>
                    <a:pt x="380528" y="74617"/>
                    <a:pt x="376517" y="74617"/>
                    <a:pt x="372505" y="74617"/>
                  </a:cubicBezTo>
                  <a:cubicBezTo>
                    <a:pt x="368493" y="74617"/>
                    <a:pt x="363478" y="74617"/>
                    <a:pt x="357461" y="75620"/>
                  </a:cubicBezTo>
                  <a:cubicBezTo>
                    <a:pt x="360470" y="76623"/>
                    <a:pt x="355455" y="77625"/>
                    <a:pt x="350440" y="78628"/>
                  </a:cubicBezTo>
                  <a:cubicBezTo>
                    <a:pt x="346429" y="79631"/>
                    <a:pt x="341414" y="80633"/>
                    <a:pt x="347432" y="80633"/>
                  </a:cubicBezTo>
                  <a:cubicBezTo>
                    <a:pt x="361473" y="83642"/>
                    <a:pt x="362476" y="80633"/>
                    <a:pt x="374511" y="83642"/>
                  </a:cubicBezTo>
                  <a:lnTo>
                    <a:pt x="374511" y="82639"/>
                  </a:lnTo>
                  <a:cubicBezTo>
                    <a:pt x="402593" y="86650"/>
                    <a:pt x="428669" y="97680"/>
                    <a:pt x="451737" y="113723"/>
                  </a:cubicBezTo>
                  <a:cubicBezTo>
                    <a:pt x="474804" y="129767"/>
                    <a:pt x="494863" y="149822"/>
                    <a:pt x="507902" y="173887"/>
                  </a:cubicBezTo>
                  <a:cubicBezTo>
                    <a:pt x="518934" y="188928"/>
                    <a:pt x="525954" y="206977"/>
                    <a:pt x="528963" y="226029"/>
                  </a:cubicBezTo>
                  <a:cubicBezTo>
                    <a:pt x="532975" y="245080"/>
                    <a:pt x="532975" y="266138"/>
                    <a:pt x="531972" y="286192"/>
                  </a:cubicBezTo>
                  <a:cubicBezTo>
                    <a:pt x="530969" y="308252"/>
                    <a:pt x="527960" y="332318"/>
                    <a:pt x="524951" y="355380"/>
                  </a:cubicBezTo>
                  <a:cubicBezTo>
                    <a:pt x="521943" y="378443"/>
                    <a:pt x="518934" y="400503"/>
                    <a:pt x="513919" y="418552"/>
                  </a:cubicBezTo>
                  <a:cubicBezTo>
                    <a:pt x="511913" y="427577"/>
                    <a:pt x="507902" y="432590"/>
                    <a:pt x="503890" y="439609"/>
                  </a:cubicBezTo>
                  <a:cubicBezTo>
                    <a:pt x="497872" y="455653"/>
                    <a:pt x="489849" y="472699"/>
                    <a:pt x="477813" y="487740"/>
                  </a:cubicBezTo>
                  <a:cubicBezTo>
                    <a:pt x="465778" y="502781"/>
                    <a:pt x="450734" y="515816"/>
                    <a:pt x="434687" y="525844"/>
                  </a:cubicBezTo>
                  <a:cubicBezTo>
                    <a:pt x="435690" y="525844"/>
                    <a:pt x="435690" y="524841"/>
                    <a:pt x="436693" y="524841"/>
                  </a:cubicBezTo>
                  <a:cubicBezTo>
                    <a:pt x="419643" y="534868"/>
                    <a:pt x="404599" y="538879"/>
                    <a:pt x="385543" y="543893"/>
                  </a:cubicBezTo>
                  <a:cubicBezTo>
                    <a:pt x="385543" y="544896"/>
                    <a:pt x="382534" y="545898"/>
                    <a:pt x="381531" y="545898"/>
                  </a:cubicBezTo>
                  <a:cubicBezTo>
                    <a:pt x="380528" y="544896"/>
                    <a:pt x="372505" y="546901"/>
                    <a:pt x="361473" y="548906"/>
                  </a:cubicBezTo>
                  <a:cubicBezTo>
                    <a:pt x="350440" y="550912"/>
                    <a:pt x="335396" y="552917"/>
                    <a:pt x="320352" y="554923"/>
                  </a:cubicBezTo>
                  <a:cubicBezTo>
                    <a:pt x="289261" y="556928"/>
                    <a:pt x="257167" y="553920"/>
                    <a:pt x="254158" y="551915"/>
                  </a:cubicBezTo>
                  <a:cubicBezTo>
                    <a:pt x="252153" y="551915"/>
                    <a:pt x="250147" y="550912"/>
                    <a:pt x="247138" y="550912"/>
                  </a:cubicBezTo>
                  <a:cubicBezTo>
                    <a:pt x="226076" y="545898"/>
                    <a:pt x="204012" y="537876"/>
                    <a:pt x="184956" y="527849"/>
                  </a:cubicBezTo>
                  <a:cubicBezTo>
                    <a:pt x="165900" y="518825"/>
                    <a:pt x="148850" y="507795"/>
                    <a:pt x="133806" y="498770"/>
                  </a:cubicBezTo>
                  <a:cubicBezTo>
                    <a:pt x="126786" y="495762"/>
                    <a:pt x="118762" y="491751"/>
                    <a:pt x="112744" y="488743"/>
                  </a:cubicBezTo>
                  <a:cubicBezTo>
                    <a:pt x="108733" y="483729"/>
                    <a:pt x="105724" y="484732"/>
                    <a:pt x="100709" y="478716"/>
                  </a:cubicBezTo>
                  <a:cubicBezTo>
                    <a:pt x="91683" y="460667"/>
                    <a:pt x="84662" y="452645"/>
                    <a:pt x="87671" y="462672"/>
                  </a:cubicBezTo>
                  <a:cubicBezTo>
                    <a:pt x="76639" y="450639"/>
                    <a:pt x="69618" y="436601"/>
                    <a:pt x="64603" y="423566"/>
                  </a:cubicBezTo>
                  <a:cubicBezTo>
                    <a:pt x="61595" y="417549"/>
                    <a:pt x="58586" y="411533"/>
                    <a:pt x="56580" y="405517"/>
                  </a:cubicBezTo>
                  <a:cubicBezTo>
                    <a:pt x="54574" y="400503"/>
                    <a:pt x="54574" y="396492"/>
                    <a:pt x="55577" y="393484"/>
                  </a:cubicBezTo>
                  <a:cubicBezTo>
                    <a:pt x="51565" y="379446"/>
                    <a:pt x="53571" y="383457"/>
                    <a:pt x="51565" y="367413"/>
                  </a:cubicBezTo>
                  <a:cubicBezTo>
                    <a:pt x="52568" y="365408"/>
                    <a:pt x="49559" y="355380"/>
                    <a:pt x="47553" y="345353"/>
                  </a:cubicBezTo>
                  <a:cubicBezTo>
                    <a:pt x="45548" y="335326"/>
                    <a:pt x="43542" y="325299"/>
                    <a:pt x="43542" y="323293"/>
                  </a:cubicBezTo>
                  <a:lnTo>
                    <a:pt x="43542" y="326301"/>
                  </a:lnTo>
                  <a:cubicBezTo>
                    <a:pt x="42539" y="307249"/>
                    <a:pt x="47553" y="295217"/>
                    <a:pt x="48556" y="278170"/>
                  </a:cubicBezTo>
                  <a:cubicBezTo>
                    <a:pt x="50562" y="253102"/>
                    <a:pt x="54574" y="228034"/>
                    <a:pt x="61595" y="203969"/>
                  </a:cubicBezTo>
                  <a:cubicBezTo>
                    <a:pt x="67612" y="179903"/>
                    <a:pt x="77641" y="156841"/>
                    <a:pt x="89677" y="137789"/>
                  </a:cubicBezTo>
                  <a:cubicBezTo>
                    <a:pt x="87671" y="135783"/>
                    <a:pt x="85665" y="146813"/>
                    <a:pt x="82656" y="145811"/>
                  </a:cubicBezTo>
                  <a:cubicBezTo>
                    <a:pt x="95694" y="121745"/>
                    <a:pt x="113747" y="102693"/>
                    <a:pt x="132803" y="85647"/>
                  </a:cubicBezTo>
                  <a:cubicBezTo>
                    <a:pt x="136815" y="82639"/>
                    <a:pt x="141830" y="80633"/>
                    <a:pt x="143835" y="79631"/>
                  </a:cubicBezTo>
                  <a:cubicBezTo>
                    <a:pt x="150856" y="74617"/>
                    <a:pt x="146844" y="75620"/>
                    <a:pt x="151859" y="72612"/>
                  </a:cubicBezTo>
                  <a:lnTo>
                    <a:pt x="153865" y="73614"/>
                  </a:lnTo>
                  <a:cubicBezTo>
                    <a:pt x="159882" y="66595"/>
                    <a:pt x="165900" y="68601"/>
                    <a:pt x="171918" y="62584"/>
                  </a:cubicBezTo>
                  <a:cubicBezTo>
                    <a:pt x="171918" y="61582"/>
                    <a:pt x="173923" y="59576"/>
                    <a:pt x="176932" y="58573"/>
                  </a:cubicBezTo>
                  <a:cubicBezTo>
                    <a:pt x="177935" y="60579"/>
                    <a:pt x="184956" y="53560"/>
                    <a:pt x="184956" y="56568"/>
                  </a:cubicBezTo>
                  <a:lnTo>
                    <a:pt x="184956" y="56568"/>
                  </a:lnTo>
                  <a:cubicBezTo>
                    <a:pt x="186962" y="55565"/>
                    <a:pt x="187964" y="55565"/>
                    <a:pt x="189970" y="54563"/>
                  </a:cubicBezTo>
                  <a:cubicBezTo>
                    <a:pt x="190973" y="53560"/>
                    <a:pt x="197994" y="47543"/>
                    <a:pt x="206018" y="43533"/>
                  </a:cubicBezTo>
                  <a:cubicBezTo>
                    <a:pt x="213038" y="38519"/>
                    <a:pt x="221062" y="34508"/>
                    <a:pt x="223067" y="33505"/>
                  </a:cubicBezTo>
                  <a:lnTo>
                    <a:pt x="225073" y="33505"/>
                  </a:lnTo>
                  <a:cubicBezTo>
                    <a:pt x="230088" y="32503"/>
                    <a:pt x="231091" y="30497"/>
                    <a:pt x="228082" y="30497"/>
                  </a:cubicBezTo>
                  <a:lnTo>
                    <a:pt x="234100" y="29494"/>
                  </a:lnTo>
                  <a:lnTo>
                    <a:pt x="233097" y="29494"/>
                  </a:lnTo>
                  <a:lnTo>
                    <a:pt x="239114" y="28492"/>
                  </a:lnTo>
                  <a:cubicBezTo>
                    <a:pt x="240117" y="28492"/>
                    <a:pt x="241120" y="29494"/>
                    <a:pt x="240117" y="30497"/>
                  </a:cubicBezTo>
                  <a:cubicBezTo>
                    <a:pt x="243126" y="29494"/>
                    <a:pt x="247138" y="28492"/>
                    <a:pt x="250147" y="28492"/>
                  </a:cubicBezTo>
                  <a:cubicBezTo>
                    <a:pt x="241120" y="28492"/>
                    <a:pt x="229085" y="28492"/>
                    <a:pt x="219056" y="29494"/>
                  </a:cubicBezTo>
                  <a:cubicBezTo>
                    <a:pt x="223067" y="27489"/>
                    <a:pt x="230088" y="27489"/>
                    <a:pt x="234100" y="25483"/>
                  </a:cubicBezTo>
                  <a:cubicBezTo>
                    <a:pt x="237109" y="25483"/>
                    <a:pt x="241120" y="25483"/>
                    <a:pt x="245132" y="25483"/>
                  </a:cubicBezTo>
                  <a:cubicBezTo>
                    <a:pt x="249144" y="25483"/>
                    <a:pt x="254158" y="25483"/>
                    <a:pt x="258170" y="25483"/>
                  </a:cubicBezTo>
                  <a:cubicBezTo>
                    <a:pt x="260176" y="25483"/>
                    <a:pt x="261179" y="22475"/>
                    <a:pt x="265191" y="23478"/>
                  </a:cubicBezTo>
                  <a:cubicBezTo>
                    <a:pt x="267197" y="25483"/>
                    <a:pt x="270205" y="23478"/>
                    <a:pt x="273214" y="24481"/>
                  </a:cubicBezTo>
                  <a:cubicBezTo>
                    <a:pt x="269202" y="25483"/>
                    <a:pt x="265191" y="25483"/>
                    <a:pt x="261179" y="25483"/>
                  </a:cubicBezTo>
                  <a:cubicBezTo>
                    <a:pt x="261179" y="26486"/>
                    <a:pt x="264188" y="26486"/>
                    <a:pt x="266194" y="26486"/>
                  </a:cubicBezTo>
                  <a:cubicBezTo>
                    <a:pt x="269202" y="26486"/>
                    <a:pt x="272211" y="26486"/>
                    <a:pt x="273214" y="26486"/>
                  </a:cubicBezTo>
                  <a:cubicBezTo>
                    <a:pt x="274217" y="25483"/>
                    <a:pt x="282241" y="26486"/>
                    <a:pt x="287255" y="26486"/>
                  </a:cubicBezTo>
                  <a:cubicBezTo>
                    <a:pt x="285249" y="28492"/>
                    <a:pt x="291267" y="28492"/>
                    <a:pt x="293273" y="29494"/>
                  </a:cubicBezTo>
                  <a:cubicBezTo>
                    <a:pt x="296282" y="29494"/>
                    <a:pt x="298288" y="29494"/>
                    <a:pt x="297285" y="28492"/>
                  </a:cubicBezTo>
                  <a:cubicBezTo>
                    <a:pt x="298288" y="26486"/>
                    <a:pt x="285249" y="25483"/>
                    <a:pt x="289261" y="23478"/>
                  </a:cubicBezTo>
                  <a:cubicBezTo>
                    <a:pt x="290264" y="24481"/>
                    <a:pt x="296282" y="24481"/>
                    <a:pt x="300294" y="25483"/>
                  </a:cubicBezTo>
                  <a:cubicBezTo>
                    <a:pt x="300294" y="24481"/>
                    <a:pt x="298288" y="24481"/>
                    <a:pt x="300294" y="23478"/>
                  </a:cubicBezTo>
                  <a:cubicBezTo>
                    <a:pt x="304305" y="24481"/>
                    <a:pt x="308317" y="23478"/>
                    <a:pt x="310323" y="25483"/>
                  </a:cubicBezTo>
                  <a:cubicBezTo>
                    <a:pt x="309320" y="25483"/>
                    <a:pt x="308317" y="25483"/>
                    <a:pt x="307314" y="24481"/>
                  </a:cubicBezTo>
                  <a:cubicBezTo>
                    <a:pt x="309320" y="25483"/>
                    <a:pt x="302300" y="25483"/>
                    <a:pt x="296282" y="26486"/>
                  </a:cubicBezTo>
                  <a:cubicBezTo>
                    <a:pt x="289261" y="27489"/>
                    <a:pt x="283243" y="29494"/>
                    <a:pt x="286252" y="28492"/>
                  </a:cubicBezTo>
                  <a:cubicBezTo>
                    <a:pt x="285249" y="28492"/>
                    <a:pt x="292270" y="26486"/>
                    <a:pt x="299291" y="25483"/>
                  </a:cubicBezTo>
                  <a:cubicBezTo>
                    <a:pt x="306311" y="25483"/>
                    <a:pt x="313332" y="24481"/>
                    <a:pt x="311326" y="24481"/>
                  </a:cubicBezTo>
                  <a:cubicBezTo>
                    <a:pt x="308317" y="23478"/>
                    <a:pt x="314335" y="22475"/>
                    <a:pt x="311326" y="21473"/>
                  </a:cubicBezTo>
                  <a:lnTo>
                    <a:pt x="307314" y="22475"/>
                  </a:lnTo>
                  <a:cubicBezTo>
                    <a:pt x="303302" y="21473"/>
                    <a:pt x="302300" y="18464"/>
                    <a:pt x="303302" y="18464"/>
                  </a:cubicBezTo>
                  <a:cubicBezTo>
                    <a:pt x="307314" y="19467"/>
                    <a:pt x="301297" y="20470"/>
                    <a:pt x="296282" y="21473"/>
                  </a:cubicBezTo>
                  <a:cubicBezTo>
                    <a:pt x="291267" y="22475"/>
                    <a:pt x="285249" y="24481"/>
                    <a:pt x="288258" y="23478"/>
                  </a:cubicBezTo>
                  <a:lnTo>
                    <a:pt x="290264" y="24481"/>
                  </a:lnTo>
                  <a:cubicBezTo>
                    <a:pt x="293273" y="24481"/>
                    <a:pt x="300294" y="23478"/>
                    <a:pt x="302300" y="25483"/>
                  </a:cubicBezTo>
                  <a:cubicBezTo>
                    <a:pt x="302300" y="24481"/>
                    <a:pt x="306311" y="24481"/>
                    <a:pt x="309320" y="24481"/>
                  </a:cubicBezTo>
                  <a:lnTo>
                    <a:pt x="310323" y="24481"/>
                  </a:lnTo>
                  <a:cubicBezTo>
                    <a:pt x="313332" y="24481"/>
                    <a:pt x="317344" y="25483"/>
                    <a:pt x="316341" y="23478"/>
                  </a:cubicBezTo>
                  <a:cubicBezTo>
                    <a:pt x="307314" y="22475"/>
                    <a:pt x="311326" y="19467"/>
                    <a:pt x="314335" y="16459"/>
                  </a:cubicBezTo>
                  <a:cubicBezTo>
                    <a:pt x="318346" y="13451"/>
                    <a:pt x="322358" y="11445"/>
                    <a:pt x="313332" y="9440"/>
                  </a:cubicBezTo>
                  <a:cubicBezTo>
                    <a:pt x="320352" y="13451"/>
                    <a:pt x="310323" y="11445"/>
                    <a:pt x="302300" y="10443"/>
                  </a:cubicBezTo>
                  <a:cubicBezTo>
                    <a:pt x="301297" y="9440"/>
                    <a:pt x="298288" y="7434"/>
                    <a:pt x="292270" y="6432"/>
                  </a:cubicBezTo>
                  <a:cubicBezTo>
                    <a:pt x="287255" y="6432"/>
                    <a:pt x="289261" y="7434"/>
                    <a:pt x="288258" y="7434"/>
                  </a:cubicBezTo>
                  <a:cubicBezTo>
                    <a:pt x="285249" y="6432"/>
                    <a:pt x="280235" y="6432"/>
                    <a:pt x="281238" y="4426"/>
                  </a:cubicBezTo>
                  <a:cubicBezTo>
                    <a:pt x="277226" y="6432"/>
                    <a:pt x="275220" y="3424"/>
                    <a:pt x="270205" y="4426"/>
                  </a:cubicBezTo>
                  <a:cubicBezTo>
                    <a:pt x="266194" y="5429"/>
                    <a:pt x="270205" y="5429"/>
                    <a:pt x="267197" y="6432"/>
                  </a:cubicBezTo>
                  <a:cubicBezTo>
                    <a:pt x="261179" y="6432"/>
                    <a:pt x="252153" y="7434"/>
                    <a:pt x="247138" y="7434"/>
                  </a:cubicBezTo>
                  <a:cubicBezTo>
                    <a:pt x="245132" y="6432"/>
                    <a:pt x="239114" y="5429"/>
                    <a:pt x="243126" y="2421"/>
                  </a:cubicBezTo>
                  <a:cubicBezTo>
                    <a:pt x="253155" y="1418"/>
                    <a:pt x="240117" y="6432"/>
                    <a:pt x="250147" y="4426"/>
                  </a:cubicBezTo>
                  <a:cubicBezTo>
                    <a:pt x="245132" y="2421"/>
                    <a:pt x="259173" y="2421"/>
                    <a:pt x="260176" y="415"/>
                  </a:cubicBezTo>
                  <a:cubicBezTo>
                    <a:pt x="257167" y="-587"/>
                    <a:pt x="250147" y="415"/>
                    <a:pt x="245132" y="1418"/>
                  </a:cubicBezTo>
                  <a:lnTo>
                    <a:pt x="246135" y="1418"/>
                  </a:lnTo>
                  <a:cubicBezTo>
                    <a:pt x="241120" y="2421"/>
                    <a:pt x="232094" y="5429"/>
                    <a:pt x="226076" y="4426"/>
                  </a:cubicBezTo>
                  <a:cubicBezTo>
                    <a:pt x="227079" y="3424"/>
                    <a:pt x="225073" y="2421"/>
                    <a:pt x="228082" y="1418"/>
                  </a:cubicBezTo>
                  <a:lnTo>
                    <a:pt x="220059" y="4426"/>
                  </a:lnTo>
                  <a:cubicBezTo>
                    <a:pt x="219056" y="5429"/>
                    <a:pt x="218053" y="5429"/>
                    <a:pt x="220059" y="5429"/>
                  </a:cubicBezTo>
                  <a:cubicBezTo>
                    <a:pt x="217050" y="7434"/>
                    <a:pt x="214041" y="7434"/>
                    <a:pt x="211032" y="7434"/>
                  </a:cubicBezTo>
                  <a:cubicBezTo>
                    <a:pt x="210029" y="7434"/>
                    <a:pt x="202006" y="10443"/>
                    <a:pt x="194985" y="15456"/>
                  </a:cubicBezTo>
                  <a:cubicBezTo>
                    <a:pt x="186962" y="19467"/>
                    <a:pt x="179941" y="24481"/>
                    <a:pt x="180944" y="24481"/>
                  </a:cubicBezTo>
                  <a:cubicBezTo>
                    <a:pt x="176932" y="26486"/>
                    <a:pt x="174926" y="25483"/>
                    <a:pt x="170915" y="28492"/>
                  </a:cubicBezTo>
                  <a:cubicBezTo>
                    <a:pt x="170915" y="28492"/>
                    <a:pt x="172920" y="27489"/>
                    <a:pt x="176932" y="25483"/>
                  </a:cubicBezTo>
                  <a:cubicBezTo>
                    <a:pt x="180944" y="23478"/>
                    <a:pt x="184956" y="20470"/>
                    <a:pt x="189970" y="17462"/>
                  </a:cubicBezTo>
                  <a:cubicBezTo>
                    <a:pt x="194985" y="15456"/>
                    <a:pt x="198997" y="12448"/>
                    <a:pt x="203009" y="10443"/>
                  </a:cubicBezTo>
                  <a:cubicBezTo>
                    <a:pt x="206018" y="9440"/>
                    <a:pt x="208023" y="8437"/>
                    <a:pt x="206018" y="8437"/>
                  </a:cubicBezTo>
                  <a:cubicBezTo>
                    <a:pt x="205015" y="8437"/>
                    <a:pt x="201003" y="9440"/>
                    <a:pt x="195988" y="12448"/>
                  </a:cubicBezTo>
                  <a:cubicBezTo>
                    <a:pt x="190973" y="14454"/>
                    <a:pt x="184956" y="18464"/>
                    <a:pt x="178938" y="21473"/>
                  </a:cubicBezTo>
                  <a:cubicBezTo>
                    <a:pt x="172920" y="24481"/>
                    <a:pt x="167906" y="28492"/>
                    <a:pt x="162891" y="31500"/>
                  </a:cubicBezTo>
                  <a:cubicBezTo>
                    <a:pt x="158879" y="34508"/>
                    <a:pt x="155871" y="36513"/>
                    <a:pt x="154868" y="36513"/>
                  </a:cubicBezTo>
                  <a:cubicBezTo>
                    <a:pt x="151859" y="38519"/>
                    <a:pt x="148850" y="41527"/>
                    <a:pt x="149853" y="41527"/>
                  </a:cubicBezTo>
                  <a:cubicBezTo>
                    <a:pt x="144838" y="44535"/>
                    <a:pt x="149853" y="38519"/>
                    <a:pt x="145841" y="40524"/>
                  </a:cubicBezTo>
                  <a:cubicBezTo>
                    <a:pt x="145841" y="40524"/>
                    <a:pt x="146844" y="40524"/>
                    <a:pt x="144838" y="41527"/>
                  </a:cubicBezTo>
                  <a:cubicBezTo>
                    <a:pt x="143835" y="41527"/>
                    <a:pt x="141830" y="42530"/>
                    <a:pt x="140827" y="42530"/>
                  </a:cubicBezTo>
                  <a:cubicBezTo>
                    <a:pt x="137818" y="46541"/>
                    <a:pt x="132803" y="49549"/>
                    <a:pt x="127788" y="52557"/>
                  </a:cubicBezTo>
                  <a:cubicBezTo>
                    <a:pt x="123777" y="56568"/>
                    <a:pt x="118762" y="60579"/>
                    <a:pt x="115753" y="64590"/>
                  </a:cubicBezTo>
                  <a:cubicBezTo>
                    <a:pt x="116756" y="61582"/>
                    <a:pt x="117759" y="57571"/>
                    <a:pt x="121771" y="52557"/>
                  </a:cubicBezTo>
                  <a:lnTo>
                    <a:pt x="122774" y="52557"/>
                  </a:lnTo>
                  <a:cubicBezTo>
                    <a:pt x="122774" y="51554"/>
                    <a:pt x="126786" y="47543"/>
                    <a:pt x="125783" y="47543"/>
                  </a:cubicBezTo>
                  <a:cubicBezTo>
                    <a:pt x="120768" y="50552"/>
                    <a:pt x="116756" y="54563"/>
                    <a:pt x="112744" y="59576"/>
                  </a:cubicBezTo>
                  <a:cubicBezTo>
                    <a:pt x="111742" y="60579"/>
                    <a:pt x="110739" y="60579"/>
                    <a:pt x="109736" y="61582"/>
                  </a:cubicBezTo>
                  <a:cubicBezTo>
                    <a:pt x="109736" y="61582"/>
                    <a:pt x="109736" y="61582"/>
                    <a:pt x="109736" y="61582"/>
                  </a:cubicBezTo>
                  <a:cubicBezTo>
                    <a:pt x="107730" y="62584"/>
                    <a:pt x="107730" y="62584"/>
                    <a:pt x="107730" y="61582"/>
                  </a:cubicBezTo>
                  <a:cubicBezTo>
                    <a:pt x="107730" y="61582"/>
                    <a:pt x="107730" y="61582"/>
                    <a:pt x="107730" y="60579"/>
                  </a:cubicBezTo>
                  <a:cubicBezTo>
                    <a:pt x="104721" y="60579"/>
                    <a:pt x="101712" y="65593"/>
                    <a:pt x="96697" y="70606"/>
                  </a:cubicBezTo>
                  <a:cubicBezTo>
                    <a:pt x="92685" y="76623"/>
                    <a:pt x="87671" y="82639"/>
                    <a:pt x="83659" y="86650"/>
                  </a:cubicBezTo>
                  <a:cubicBezTo>
                    <a:pt x="81653" y="89658"/>
                    <a:pt x="83659" y="87652"/>
                    <a:pt x="81653" y="90661"/>
                  </a:cubicBezTo>
                  <a:cubicBezTo>
                    <a:pt x="73630" y="98682"/>
                    <a:pt x="68615" y="104699"/>
                    <a:pt x="61595" y="114726"/>
                  </a:cubicBezTo>
                  <a:cubicBezTo>
                    <a:pt x="60592" y="118737"/>
                    <a:pt x="61595" y="119740"/>
                    <a:pt x="64603" y="115729"/>
                  </a:cubicBezTo>
                  <a:lnTo>
                    <a:pt x="59589" y="123751"/>
                  </a:lnTo>
                  <a:cubicBezTo>
                    <a:pt x="59589" y="119740"/>
                    <a:pt x="56580" y="122748"/>
                    <a:pt x="54574" y="125756"/>
                  </a:cubicBezTo>
                  <a:cubicBezTo>
                    <a:pt x="51565" y="128764"/>
                    <a:pt x="49559" y="131772"/>
                    <a:pt x="49559" y="126759"/>
                  </a:cubicBezTo>
                  <a:cubicBezTo>
                    <a:pt x="47553" y="128764"/>
                    <a:pt x="44545" y="133778"/>
                    <a:pt x="43542" y="138792"/>
                  </a:cubicBezTo>
                  <a:cubicBezTo>
                    <a:pt x="44545" y="139794"/>
                    <a:pt x="45548" y="140797"/>
                    <a:pt x="42539" y="146813"/>
                  </a:cubicBezTo>
                  <a:cubicBezTo>
                    <a:pt x="37524" y="154835"/>
                    <a:pt x="38527" y="152830"/>
                    <a:pt x="34515" y="158846"/>
                  </a:cubicBezTo>
                  <a:cubicBezTo>
                    <a:pt x="32509" y="159849"/>
                    <a:pt x="33512" y="156841"/>
                    <a:pt x="32509" y="156841"/>
                  </a:cubicBezTo>
                  <a:cubicBezTo>
                    <a:pt x="30504" y="167871"/>
                    <a:pt x="26492" y="164862"/>
                    <a:pt x="22480" y="175892"/>
                  </a:cubicBezTo>
                  <a:cubicBezTo>
                    <a:pt x="20474" y="182911"/>
                    <a:pt x="17465" y="195947"/>
                    <a:pt x="19471" y="196950"/>
                  </a:cubicBezTo>
                  <a:cubicBezTo>
                    <a:pt x="20474" y="206977"/>
                    <a:pt x="19471" y="205974"/>
                    <a:pt x="17465" y="204971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9EE11248-F3BF-864C-A177-EBFB23D8503C}"/>
              </a:ext>
            </a:extLst>
          </p:cNvPr>
          <p:cNvGrpSpPr/>
          <p:nvPr userDrawn="1"/>
        </p:nvGrpSpPr>
        <p:grpSpPr>
          <a:xfrm>
            <a:off x="1308674" y="3024887"/>
            <a:ext cx="592351" cy="906402"/>
            <a:chOff x="2203157" y="4098931"/>
            <a:chExt cx="592351" cy="906402"/>
          </a:xfrm>
        </p:grpSpPr>
        <p:sp>
          <p:nvSpPr>
            <p:cNvPr id="13" name="Tekstfelt 12">
              <a:extLst>
                <a:ext uri="{FF2B5EF4-FFF2-40B4-BE49-F238E27FC236}">
                  <a16:creationId xmlns:a16="http://schemas.microsoft.com/office/drawing/2014/main" id="{79CFF0CC-1C59-7142-A8CC-AF4FDFDE936E}"/>
                </a:ext>
              </a:extLst>
            </p:cNvPr>
            <p:cNvSpPr txBox="1"/>
            <p:nvPr/>
          </p:nvSpPr>
          <p:spPr>
            <a:xfrm>
              <a:off x="2267799" y="4098931"/>
              <a:ext cx="527709" cy="9064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290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2</a:t>
              </a:r>
            </a:p>
          </p:txBody>
        </p:sp>
        <p:sp>
          <p:nvSpPr>
            <p:cNvPr id="19" name="Kombinationstegning 18">
              <a:extLst>
                <a:ext uri="{FF2B5EF4-FFF2-40B4-BE49-F238E27FC236}">
                  <a16:creationId xmlns:a16="http://schemas.microsoft.com/office/drawing/2014/main" id="{98186A7F-E04F-A344-8C97-E1F4020EE1C7}"/>
                </a:ext>
              </a:extLst>
            </p:cNvPr>
            <p:cNvSpPr/>
            <p:nvPr/>
          </p:nvSpPr>
          <p:spPr>
            <a:xfrm>
              <a:off x="2203157" y="4178700"/>
              <a:ext cx="572724" cy="608067"/>
            </a:xfrm>
            <a:custGeom>
              <a:avLst/>
              <a:gdLst>
                <a:gd name="connsiteX0" fmla="*/ 17465 w 572724"/>
                <a:gd name="connsiteY0" fmla="*/ 206977 h 608067"/>
                <a:gd name="connsiteX1" fmla="*/ 15460 w 572724"/>
                <a:gd name="connsiteY1" fmla="*/ 213996 h 608067"/>
                <a:gd name="connsiteX2" fmla="*/ 40533 w 572724"/>
                <a:gd name="connsiteY2" fmla="*/ 142802 h 608067"/>
                <a:gd name="connsiteX3" fmla="*/ 6433 w 572724"/>
                <a:gd name="connsiteY3" fmla="*/ 223021 h 608067"/>
                <a:gd name="connsiteX4" fmla="*/ 8439 w 572724"/>
                <a:gd name="connsiteY4" fmla="*/ 300230 h 608067"/>
                <a:gd name="connsiteX5" fmla="*/ 415 w 572724"/>
                <a:gd name="connsiteY5" fmla="*/ 331315 h 608067"/>
                <a:gd name="connsiteX6" fmla="*/ 1418 w 572724"/>
                <a:gd name="connsiteY6" fmla="*/ 359391 h 608067"/>
                <a:gd name="connsiteX7" fmla="*/ 10445 w 572724"/>
                <a:gd name="connsiteY7" fmla="*/ 392481 h 608067"/>
                <a:gd name="connsiteX8" fmla="*/ 4427 w 572724"/>
                <a:gd name="connsiteY8" fmla="*/ 369418 h 608067"/>
                <a:gd name="connsiteX9" fmla="*/ 10445 w 572724"/>
                <a:gd name="connsiteY9" fmla="*/ 392481 h 608067"/>
                <a:gd name="connsiteX10" fmla="*/ 29501 w 572724"/>
                <a:gd name="connsiteY10" fmla="*/ 445626 h 608067"/>
                <a:gd name="connsiteX11" fmla="*/ 60592 w 572724"/>
                <a:gd name="connsiteY11" fmla="*/ 496765 h 608067"/>
                <a:gd name="connsiteX12" fmla="*/ 156874 w 572724"/>
                <a:gd name="connsiteY12" fmla="*/ 569964 h 608067"/>
                <a:gd name="connsiteX13" fmla="*/ 257167 w 572724"/>
                <a:gd name="connsiteY13" fmla="*/ 601048 h 608067"/>
                <a:gd name="connsiteX14" fmla="*/ 317343 w 572724"/>
                <a:gd name="connsiteY14" fmla="*/ 608067 h 608067"/>
                <a:gd name="connsiteX15" fmla="*/ 364482 w 572724"/>
                <a:gd name="connsiteY15" fmla="*/ 607064 h 608067"/>
                <a:gd name="connsiteX16" fmla="*/ 385543 w 572724"/>
                <a:gd name="connsiteY16" fmla="*/ 604056 h 608067"/>
                <a:gd name="connsiteX17" fmla="*/ 362476 w 572724"/>
                <a:gd name="connsiteY17" fmla="*/ 606062 h 608067"/>
                <a:gd name="connsiteX18" fmla="*/ 438699 w 572724"/>
                <a:gd name="connsiteY18" fmla="*/ 578988 h 608067"/>
                <a:gd name="connsiteX19" fmla="*/ 422652 w 572724"/>
                <a:gd name="connsiteY19" fmla="*/ 580994 h 608067"/>
                <a:gd name="connsiteX20" fmla="*/ 434687 w 572724"/>
                <a:gd name="connsiteY20" fmla="*/ 576983 h 608067"/>
                <a:gd name="connsiteX21" fmla="*/ 476810 w 572724"/>
                <a:gd name="connsiteY21" fmla="*/ 546901 h 608067"/>
                <a:gd name="connsiteX22" fmla="*/ 490852 w 572724"/>
                <a:gd name="connsiteY22" fmla="*/ 537876 h 608067"/>
                <a:gd name="connsiteX23" fmla="*/ 487843 w 572724"/>
                <a:gd name="connsiteY23" fmla="*/ 538879 h 608067"/>
                <a:gd name="connsiteX24" fmla="*/ 521942 w 572724"/>
                <a:gd name="connsiteY24" fmla="*/ 498770 h 608067"/>
                <a:gd name="connsiteX25" fmla="*/ 543004 w 572724"/>
                <a:gd name="connsiteY25" fmla="*/ 454650 h 608067"/>
                <a:gd name="connsiteX26" fmla="*/ 547016 w 572724"/>
                <a:gd name="connsiteY26" fmla="*/ 446628 h 608067"/>
                <a:gd name="connsiteX27" fmla="*/ 553034 w 572724"/>
                <a:gd name="connsiteY27" fmla="*/ 419555 h 608067"/>
                <a:gd name="connsiteX28" fmla="*/ 559051 w 572724"/>
                <a:gd name="connsiteY28" fmla="*/ 411533 h 608067"/>
                <a:gd name="connsiteX29" fmla="*/ 566072 w 572724"/>
                <a:gd name="connsiteY29" fmla="*/ 352372 h 608067"/>
                <a:gd name="connsiteX30" fmla="*/ 571087 w 572724"/>
                <a:gd name="connsiteY30" fmla="*/ 246083 h 608067"/>
                <a:gd name="connsiteX31" fmla="*/ 528963 w 572724"/>
                <a:gd name="connsiteY31" fmla="*/ 144808 h 608067"/>
                <a:gd name="connsiteX32" fmla="*/ 528963 w 572724"/>
                <a:gd name="connsiteY32" fmla="*/ 146813 h 608067"/>
                <a:gd name="connsiteX33" fmla="*/ 469790 w 572724"/>
                <a:gd name="connsiteY33" fmla="*/ 96677 h 608067"/>
                <a:gd name="connsiteX34" fmla="*/ 437696 w 572724"/>
                <a:gd name="connsiteY34" fmla="*/ 83642 h 608067"/>
                <a:gd name="connsiteX35" fmla="*/ 422652 w 572724"/>
                <a:gd name="connsiteY35" fmla="*/ 80633 h 608067"/>
                <a:gd name="connsiteX36" fmla="*/ 412622 w 572724"/>
                <a:gd name="connsiteY36" fmla="*/ 80633 h 608067"/>
                <a:gd name="connsiteX37" fmla="*/ 397578 w 572724"/>
                <a:gd name="connsiteY37" fmla="*/ 77625 h 608067"/>
                <a:gd name="connsiteX38" fmla="*/ 384540 w 572724"/>
                <a:gd name="connsiteY38" fmla="*/ 76623 h 608067"/>
                <a:gd name="connsiteX39" fmla="*/ 372505 w 572724"/>
                <a:gd name="connsiteY39" fmla="*/ 76623 h 608067"/>
                <a:gd name="connsiteX40" fmla="*/ 357461 w 572724"/>
                <a:gd name="connsiteY40" fmla="*/ 77625 h 608067"/>
                <a:gd name="connsiteX41" fmla="*/ 350440 w 572724"/>
                <a:gd name="connsiteY41" fmla="*/ 80633 h 608067"/>
                <a:gd name="connsiteX42" fmla="*/ 347432 w 572724"/>
                <a:gd name="connsiteY42" fmla="*/ 82639 h 608067"/>
                <a:gd name="connsiteX43" fmla="*/ 374511 w 572724"/>
                <a:gd name="connsiteY43" fmla="*/ 85647 h 608067"/>
                <a:gd name="connsiteX44" fmla="*/ 374511 w 572724"/>
                <a:gd name="connsiteY44" fmla="*/ 84644 h 608067"/>
                <a:gd name="connsiteX45" fmla="*/ 451737 w 572724"/>
                <a:gd name="connsiteY45" fmla="*/ 115729 h 608067"/>
                <a:gd name="connsiteX46" fmla="*/ 507901 w 572724"/>
                <a:gd name="connsiteY46" fmla="*/ 175892 h 608067"/>
                <a:gd name="connsiteX47" fmla="*/ 528963 w 572724"/>
                <a:gd name="connsiteY47" fmla="*/ 228034 h 608067"/>
                <a:gd name="connsiteX48" fmla="*/ 531972 w 572724"/>
                <a:gd name="connsiteY48" fmla="*/ 288198 h 608067"/>
                <a:gd name="connsiteX49" fmla="*/ 524951 w 572724"/>
                <a:gd name="connsiteY49" fmla="*/ 357386 h 608067"/>
                <a:gd name="connsiteX50" fmla="*/ 513919 w 572724"/>
                <a:gd name="connsiteY50" fmla="*/ 420557 h 608067"/>
                <a:gd name="connsiteX51" fmla="*/ 503890 w 572724"/>
                <a:gd name="connsiteY51" fmla="*/ 441615 h 608067"/>
                <a:gd name="connsiteX52" fmla="*/ 477813 w 572724"/>
                <a:gd name="connsiteY52" fmla="*/ 489746 h 608067"/>
                <a:gd name="connsiteX53" fmla="*/ 434687 w 572724"/>
                <a:gd name="connsiteY53" fmla="*/ 527849 h 608067"/>
                <a:gd name="connsiteX54" fmla="*/ 436693 w 572724"/>
                <a:gd name="connsiteY54" fmla="*/ 526846 h 608067"/>
                <a:gd name="connsiteX55" fmla="*/ 385543 w 572724"/>
                <a:gd name="connsiteY55" fmla="*/ 545898 h 608067"/>
                <a:gd name="connsiteX56" fmla="*/ 381531 w 572724"/>
                <a:gd name="connsiteY56" fmla="*/ 547904 h 608067"/>
                <a:gd name="connsiteX57" fmla="*/ 361473 w 572724"/>
                <a:gd name="connsiteY57" fmla="*/ 550912 h 608067"/>
                <a:gd name="connsiteX58" fmla="*/ 320352 w 572724"/>
                <a:gd name="connsiteY58" fmla="*/ 556928 h 608067"/>
                <a:gd name="connsiteX59" fmla="*/ 254159 w 572724"/>
                <a:gd name="connsiteY59" fmla="*/ 553920 h 608067"/>
                <a:gd name="connsiteX60" fmla="*/ 247138 w 572724"/>
                <a:gd name="connsiteY60" fmla="*/ 552917 h 608067"/>
                <a:gd name="connsiteX61" fmla="*/ 184956 w 572724"/>
                <a:gd name="connsiteY61" fmla="*/ 529855 h 608067"/>
                <a:gd name="connsiteX62" fmla="*/ 133806 w 572724"/>
                <a:gd name="connsiteY62" fmla="*/ 500776 h 608067"/>
                <a:gd name="connsiteX63" fmla="*/ 112744 w 572724"/>
                <a:gd name="connsiteY63" fmla="*/ 490748 h 608067"/>
                <a:gd name="connsiteX64" fmla="*/ 100709 w 572724"/>
                <a:gd name="connsiteY64" fmla="*/ 480721 h 608067"/>
                <a:gd name="connsiteX65" fmla="*/ 87671 w 572724"/>
                <a:gd name="connsiteY65" fmla="*/ 464677 h 608067"/>
                <a:gd name="connsiteX66" fmla="*/ 64603 w 572724"/>
                <a:gd name="connsiteY66" fmla="*/ 425571 h 608067"/>
                <a:gd name="connsiteX67" fmla="*/ 56580 w 572724"/>
                <a:gd name="connsiteY67" fmla="*/ 407522 h 608067"/>
                <a:gd name="connsiteX68" fmla="*/ 55577 w 572724"/>
                <a:gd name="connsiteY68" fmla="*/ 395489 h 608067"/>
                <a:gd name="connsiteX69" fmla="*/ 51565 w 572724"/>
                <a:gd name="connsiteY69" fmla="*/ 369418 h 608067"/>
                <a:gd name="connsiteX70" fmla="*/ 47553 w 572724"/>
                <a:gd name="connsiteY70" fmla="*/ 347358 h 608067"/>
                <a:gd name="connsiteX71" fmla="*/ 43542 w 572724"/>
                <a:gd name="connsiteY71" fmla="*/ 325299 h 608067"/>
                <a:gd name="connsiteX72" fmla="*/ 43542 w 572724"/>
                <a:gd name="connsiteY72" fmla="*/ 328307 h 608067"/>
                <a:gd name="connsiteX73" fmla="*/ 48556 w 572724"/>
                <a:gd name="connsiteY73" fmla="*/ 280176 h 608067"/>
                <a:gd name="connsiteX74" fmla="*/ 61595 w 572724"/>
                <a:gd name="connsiteY74" fmla="*/ 205974 h 608067"/>
                <a:gd name="connsiteX75" fmla="*/ 89677 w 572724"/>
                <a:gd name="connsiteY75" fmla="*/ 139794 h 608067"/>
                <a:gd name="connsiteX76" fmla="*/ 82656 w 572724"/>
                <a:gd name="connsiteY76" fmla="*/ 147816 h 608067"/>
                <a:gd name="connsiteX77" fmla="*/ 132803 w 572724"/>
                <a:gd name="connsiteY77" fmla="*/ 87652 h 608067"/>
                <a:gd name="connsiteX78" fmla="*/ 143835 w 572724"/>
                <a:gd name="connsiteY78" fmla="*/ 81636 h 608067"/>
                <a:gd name="connsiteX79" fmla="*/ 151859 w 572724"/>
                <a:gd name="connsiteY79" fmla="*/ 74617 h 608067"/>
                <a:gd name="connsiteX80" fmla="*/ 153865 w 572724"/>
                <a:gd name="connsiteY80" fmla="*/ 75620 h 608067"/>
                <a:gd name="connsiteX81" fmla="*/ 171918 w 572724"/>
                <a:gd name="connsiteY81" fmla="*/ 64590 h 608067"/>
                <a:gd name="connsiteX82" fmla="*/ 176932 w 572724"/>
                <a:gd name="connsiteY82" fmla="*/ 60579 h 608067"/>
                <a:gd name="connsiteX83" fmla="*/ 184956 w 572724"/>
                <a:gd name="connsiteY83" fmla="*/ 58573 h 608067"/>
                <a:gd name="connsiteX84" fmla="*/ 184956 w 572724"/>
                <a:gd name="connsiteY84" fmla="*/ 58573 h 608067"/>
                <a:gd name="connsiteX85" fmla="*/ 189970 w 572724"/>
                <a:gd name="connsiteY85" fmla="*/ 56568 h 608067"/>
                <a:gd name="connsiteX86" fmla="*/ 206018 w 572724"/>
                <a:gd name="connsiteY86" fmla="*/ 45538 h 608067"/>
                <a:gd name="connsiteX87" fmla="*/ 223067 w 572724"/>
                <a:gd name="connsiteY87" fmla="*/ 35511 h 608067"/>
                <a:gd name="connsiteX88" fmla="*/ 225073 w 572724"/>
                <a:gd name="connsiteY88" fmla="*/ 35511 h 608067"/>
                <a:gd name="connsiteX89" fmla="*/ 228082 w 572724"/>
                <a:gd name="connsiteY89" fmla="*/ 32503 h 608067"/>
                <a:gd name="connsiteX90" fmla="*/ 234100 w 572724"/>
                <a:gd name="connsiteY90" fmla="*/ 31500 h 608067"/>
                <a:gd name="connsiteX91" fmla="*/ 233097 w 572724"/>
                <a:gd name="connsiteY91" fmla="*/ 31500 h 608067"/>
                <a:gd name="connsiteX92" fmla="*/ 239114 w 572724"/>
                <a:gd name="connsiteY92" fmla="*/ 30497 h 608067"/>
                <a:gd name="connsiteX93" fmla="*/ 240117 w 572724"/>
                <a:gd name="connsiteY93" fmla="*/ 32503 h 608067"/>
                <a:gd name="connsiteX94" fmla="*/ 250147 w 572724"/>
                <a:gd name="connsiteY94" fmla="*/ 30497 h 608067"/>
                <a:gd name="connsiteX95" fmla="*/ 219056 w 572724"/>
                <a:gd name="connsiteY95" fmla="*/ 31500 h 608067"/>
                <a:gd name="connsiteX96" fmla="*/ 234100 w 572724"/>
                <a:gd name="connsiteY96" fmla="*/ 27489 h 608067"/>
                <a:gd name="connsiteX97" fmla="*/ 245132 w 572724"/>
                <a:gd name="connsiteY97" fmla="*/ 27489 h 608067"/>
                <a:gd name="connsiteX98" fmla="*/ 258170 w 572724"/>
                <a:gd name="connsiteY98" fmla="*/ 27489 h 608067"/>
                <a:gd name="connsiteX99" fmla="*/ 265191 w 572724"/>
                <a:gd name="connsiteY99" fmla="*/ 25483 h 608067"/>
                <a:gd name="connsiteX100" fmla="*/ 273214 w 572724"/>
                <a:gd name="connsiteY100" fmla="*/ 26486 h 608067"/>
                <a:gd name="connsiteX101" fmla="*/ 261179 w 572724"/>
                <a:gd name="connsiteY101" fmla="*/ 27489 h 608067"/>
                <a:gd name="connsiteX102" fmla="*/ 266194 w 572724"/>
                <a:gd name="connsiteY102" fmla="*/ 28492 h 608067"/>
                <a:gd name="connsiteX103" fmla="*/ 273214 w 572724"/>
                <a:gd name="connsiteY103" fmla="*/ 28492 h 608067"/>
                <a:gd name="connsiteX104" fmla="*/ 287255 w 572724"/>
                <a:gd name="connsiteY104" fmla="*/ 28492 h 608067"/>
                <a:gd name="connsiteX105" fmla="*/ 293273 w 572724"/>
                <a:gd name="connsiteY105" fmla="*/ 31500 h 608067"/>
                <a:gd name="connsiteX106" fmla="*/ 297285 w 572724"/>
                <a:gd name="connsiteY106" fmla="*/ 30497 h 608067"/>
                <a:gd name="connsiteX107" fmla="*/ 289261 w 572724"/>
                <a:gd name="connsiteY107" fmla="*/ 25483 h 608067"/>
                <a:gd name="connsiteX108" fmla="*/ 300294 w 572724"/>
                <a:gd name="connsiteY108" fmla="*/ 27489 h 608067"/>
                <a:gd name="connsiteX109" fmla="*/ 300294 w 572724"/>
                <a:gd name="connsiteY109" fmla="*/ 25483 h 608067"/>
                <a:gd name="connsiteX110" fmla="*/ 310323 w 572724"/>
                <a:gd name="connsiteY110" fmla="*/ 27489 h 608067"/>
                <a:gd name="connsiteX111" fmla="*/ 307314 w 572724"/>
                <a:gd name="connsiteY111" fmla="*/ 26486 h 608067"/>
                <a:gd name="connsiteX112" fmla="*/ 296282 w 572724"/>
                <a:gd name="connsiteY112" fmla="*/ 28492 h 608067"/>
                <a:gd name="connsiteX113" fmla="*/ 286252 w 572724"/>
                <a:gd name="connsiteY113" fmla="*/ 30497 h 608067"/>
                <a:gd name="connsiteX114" fmla="*/ 299291 w 572724"/>
                <a:gd name="connsiteY114" fmla="*/ 27489 h 608067"/>
                <a:gd name="connsiteX115" fmla="*/ 311326 w 572724"/>
                <a:gd name="connsiteY115" fmla="*/ 26486 h 608067"/>
                <a:gd name="connsiteX116" fmla="*/ 311326 w 572724"/>
                <a:gd name="connsiteY116" fmla="*/ 23478 h 608067"/>
                <a:gd name="connsiteX117" fmla="*/ 307314 w 572724"/>
                <a:gd name="connsiteY117" fmla="*/ 24481 h 608067"/>
                <a:gd name="connsiteX118" fmla="*/ 303302 w 572724"/>
                <a:gd name="connsiteY118" fmla="*/ 20470 h 608067"/>
                <a:gd name="connsiteX119" fmla="*/ 296282 w 572724"/>
                <a:gd name="connsiteY119" fmla="*/ 23478 h 608067"/>
                <a:gd name="connsiteX120" fmla="*/ 288258 w 572724"/>
                <a:gd name="connsiteY120" fmla="*/ 25483 h 608067"/>
                <a:gd name="connsiteX121" fmla="*/ 286252 w 572724"/>
                <a:gd name="connsiteY121" fmla="*/ 24481 h 608067"/>
                <a:gd name="connsiteX122" fmla="*/ 298288 w 572724"/>
                <a:gd name="connsiteY122" fmla="*/ 25483 h 608067"/>
                <a:gd name="connsiteX123" fmla="*/ 305308 w 572724"/>
                <a:gd name="connsiteY123" fmla="*/ 24481 h 608067"/>
                <a:gd name="connsiteX124" fmla="*/ 306311 w 572724"/>
                <a:gd name="connsiteY124" fmla="*/ 24481 h 608067"/>
                <a:gd name="connsiteX125" fmla="*/ 312329 w 572724"/>
                <a:gd name="connsiteY125" fmla="*/ 23478 h 608067"/>
                <a:gd name="connsiteX126" fmla="*/ 310323 w 572724"/>
                <a:gd name="connsiteY126" fmla="*/ 16459 h 608067"/>
                <a:gd name="connsiteX127" fmla="*/ 309320 w 572724"/>
                <a:gd name="connsiteY127" fmla="*/ 9440 h 608067"/>
                <a:gd name="connsiteX128" fmla="*/ 298288 w 572724"/>
                <a:gd name="connsiteY128" fmla="*/ 10443 h 608067"/>
                <a:gd name="connsiteX129" fmla="*/ 288258 w 572724"/>
                <a:gd name="connsiteY129" fmla="*/ 6432 h 608067"/>
                <a:gd name="connsiteX130" fmla="*/ 284247 w 572724"/>
                <a:gd name="connsiteY130" fmla="*/ 7434 h 608067"/>
                <a:gd name="connsiteX131" fmla="*/ 277226 w 572724"/>
                <a:gd name="connsiteY131" fmla="*/ 4426 h 608067"/>
                <a:gd name="connsiteX132" fmla="*/ 266194 w 572724"/>
                <a:gd name="connsiteY132" fmla="*/ 4426 h 608067"/>
                <a:gd name="connsiteX133" fmla="*/ 263185 w 572724"/>
                <a:gd name="connsiteY133" fmla="*/ 6432 h 608067"/>
                <a:gd name="connsiteX134" fmla="*/ 243126 w 572724"/>
                <a:gd name="connsiteY134" fmla="*/ 7434 h 608067"/>
                <a:gd name="connsiteX135" fmla="*/ 239114 w 572724"/>
                <a:gd name="connsiteY135" fmla="*/ 2421 h 608067"/>
                <a:gd name="connsiteX136" fmla="*/ 246135 w 572724"/>
                <a:gd name="connsiteY136" fmla="*/ 4426 h 608067"/>
                <a:gd name="connsiteX137" fmla="*/ 256164 w 572724"/>
                <a:gd name="connsiteY137" fmla="*/ 415 h 608067"/>
                <a:gd name="connsiteX138" fmla="*/ 241120 w 572724"/>
                <a:gd name="connsiteY138" fmla="*/ 1418 h 608067"/>
                <a:gd name="connsiteX139" fmla="*/ 242123 w 572724"/>
                <a:gd name="connsiteY139" fmla="*/ 1418 h 608067"/>
                <a:gd name="connsiteX140" fmla="*/ 222064 w 572724"/>
                <a:gd name="connsiteY140" fmla="*/ 4426 h 608067"/>
                <a:gd name="connsiteX141" fmla="*/ 224070 w 572724"/>
                <a:gd name="connsiteY141" fmla="*/ 1418 h 608067"/>
                <a:gd name="connsiteX142" fmla="*/ 217050 w 572724"/>
                <a:gd name="connsiteY142" fmla="*/ 2421 h 608067"/>
                <a:gd name="connsiteX143" fmla="*/ 217050 w 572724"/>
                <a:gd name="connsiteY143" fmla="*/ 3424 h 608067"/>
                <a:gd name="connsiteX144" fmla="*/ 208023 w 572724"/>
                <a:gd name="connsiteY144" fmla="*/ 5429 h 608067"/>
                <a:gd name="connsiteX145" fmla="*/ 191976 w 572724"/>
                <a:gd name="connsiteY145" fmla="*/ 13451 h 608067"/>
                <a:gd name="connsiteX146" fmla="*/ 177935 w 572724"/>
                <a:gd name="connsiteY146" fmla="*/ 22475 h 608067"/>
                <a:gd name="connsiteX147" fmla="*/ 167906 w 572724"/>
                <a:gd name="connsiteY147" fmla="*/ 26486 h 608067"/>
                <a:gd name="connsiteX148" fmla="*/ 173924 w 572724"/>
                <a:gd name="connsiteY148" fmla="*/ 23478 h 608067"/>
                <a:gd name="connsiteX149" fmla="*/ 186962 w 572724"/>
                <a:gd name="connsiteY149" fmla="*/ 15456 h 608067"/>
                <a:gd name="connsiteX150" fmla="*/ 200000 w 572724"/>
                <a:gd name="connsiteY150" fmla="*/ 8437 h 608067"/>
                <a:gd name="connsiteX151" fmla="*/ 203009 w 572724"/>
                <a:gd name="connsiteY151" fmla="*/ 6432 h 608067"/>
                <a:gd name="connsiteX152" fmla="*/ 192979 w 572724"/>
                <a:gd name="connsiteY152" fmla="*/ 10443 h 608067"/>
                <a:gd name="connsiteX153" fmla="*/ 175929 w 572724"/>
                <a:gd name="connsiteY153" fmla="*/ 19467 h 608067"/>
                <a:gd name="connsiteX154" fmla="*/ 159882 w 572724"/>
                <a:gd name="connsiteY154" fmla="*/ 29494 h 608067"/>
                <a:gd name="connsiteX155" fmla="*/ 151859 w 572724"/>
                <a:gd name="connsiteY155" fmla="*/ 34508 h 608067"/>
                <a:gd name="connsiteX156" fmla="*/ 146844 w 572724"/>
                <a:gd name="connsiteY156" fmla="*/ 39522 h 608067"/>
                <a:gd name="connsiteX157" fmla="*/ 142832 w 572724"/>
                <a:gd name="connsiteY157" fmla="*/ 38519 h 608067"/>
                <a:gd name="connsiteX158" fmla="*/ 141829 w 572724"/>
                <a:gd name="connsiteY158" fmla="*/ 39522 h 608067"/>
                <a:gd name="connsiteX159" fmla="*/ 137818 w 572724"/>
                <a:gd name="connsiteY159" fmla="*/ 40524 h 608067"/>
                <a:gd name="connsiteX160" fmla="*/ 124780 w 572724"/>
                <a:gd name="connsiteY160" fmla="*/ 50552 h 608067"/>
                <a:gd name="connsiteX161" fmla="*/ 112744 w 572724"/>
                <a:gd name="connsiteY161" fmla="*/ 62584 h 608067"/>
                <a:gd name="connsiteX162" fmla="*/ 118762 w 572724"/>
                <a:gd name="connsiteY162" fmla="*/ 50552 h 608067"/>
                <a:gd name="connsiteX163" fmla="*/ 119765 w 572724"/>
                <a:gd name="connsiteY163" fmla="*/ 50552 h 608067"/>
                <a:gd name="connsiteX164" fmla="*/ 122774 w 572724"/>
                <a:gd name="connsiteY164" fmla="*/ 45538 h 608067"/>
                <a:gd name="connsiteX165" fmla="*/ 109736 w 572724"/>
                <a:gd name="connsiteY165" fmla="*/ 57571 h 608067"/>
                <a:gd name="connsiteX166" fmla="*/ 106727 w 572724"/>
                <a:gd name="connsiteY166" fmla="*/ 59576 h 608067"/>
                <a:gd name="connsiteX167" fmla="*/ 106727 w 572724"/>
                <a:gd name="connsiteY167" fmla="*/ 59576 h 608067"/>
                <a:gd name="connsiteX168" fmla="*/ 104721 w 572724"/>
                <a:gd name="connsiteY168" fmla="*/ 59576 h 608067"/>
                <a:gd name="connsiteX169" fmla="*/ 104721 w 572724"/>
                <a:gd name="connsiteY169" fmla="*/ 58573 h 608067"/>
                <a:gd name="connsiteX170" fmla="*/ 93689 w 572724"/>
                <a:gd name="connsiteY170" fmla="*/ 68601 h 608067"/>
                <a:gd name="connsiteX171" fmla="*/ 80650 w 572724"/>
                <a:gd name="connsiteY171" fmla="*/ 84644 h 608067"/>
                <a:gd name="connsiteX172" fmla="*/ 78645 w 572724"/>
                <a:gd name="connsiteY172" fmla="*/ 88655 h 608067"/>
                <a:gd name="connsiteX173" fmla="*/ 58586 w 572724"/>
                <a:gd name="connsiteY173" fmla="*/ 112721 h 608067"/>
                <a:gd name="connsiteX174" fmla="*/ 61595 w 572724"/>
                <a:gd name="connsiteY174" fmla="*/ 113723 h 608067"/>
                <a:gd name="connsiteX175" fmla="*/ 56580 w 572724"/>
                <a:gd name="connsiteY175" fmla="*/ 121745 h 608067"/>
                <a:gd name="connsiteX176" fmla="*/ 51565 w 572724"/>
                <a:gd name="connsiteY176" fmla="*/ 123751 h 608067"/>
                <a:gd name="connsiteX177" fmla="*/ 46550 w 572724"/>
                <a:gd name="connsiteY177" fmla="*/ 124753 h 608067"/>
                <a:gd name="connsiteX178" fmla="*/ 40533 w 572724"/>
                <a:gd name="connsiteY178" fmla="*/ 136786 h 608067"/>
                <a:gd name="connsiteX179" fmla="*/ 39530 w 572724"/>
                <a:gd name="connsiteY179" fmla="*/ 144808 h 608067"/>
                <a:gd name="connsiteX180" fmla="*/ 31506 w 572724"/>
                <a:gd name="connsiteY180" fmla="*/ 156841 h 608067"/>
                <a:gd name="connsiteX181" fmla="*/ 29501 w 572724"/>
                <a:gd name="connsiteY181" fmla="*/ 154835 h 608067"/>
                <a:gd name="connsiteX182" fmla="*/ 19471 w 572724"/>
                <a:gd name="connsiteY182" fmla="*/ 173887 h 608067"/>
                <a:gd name="connsiteX183" fmla="*/ 16462 w 572724"/>
                <a:gd name="connsiteY183" fmla="*/ 194944 h 608067"/>
                <a:gd name="connsiteX184" fmla="*/ 17465 w 572724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4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1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2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7" y="569964"/>
                    <a:pt x="467784" y="555925"/>
                    <a:pt x="476810" y="546901"/>
                  </a:cubicBezTo>
                  <a:cubicBezTo>
                    <a:pt x="475808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2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40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7" y="319282"/>
                    <a:pt x="575098" y="283184"/>
                    <a:pt x="571087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1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8" y="76623"/>
                    <a:pt x="376517" y="76623"/>
                    <a:pt x="372505" y="76623"/>
                  </a:cubicBezTo>
                  <a:cubicBezTo>
                    <a:pt x="368493" y="76623"/>
                    <a:pt x="363479" y="76623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5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2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9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7"/>
                    <a:pt x="64603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8" y="64590"/>
                  </a:cubicBezTo>
                  <a:cubicBezTo>
                    <a:pt x="171918" y="63587"/>
                    <a:pt x="173924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9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5" y="25483"/>
                    <a:pt x="273214" y="26486"/>
                  </a:cubicBezTo>
                  <a:cubicBezTo>
                    <a:pt x="269203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3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49" y="7434"/>
                    <a:pt x="284247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4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4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9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5" y="87652"/>
                    <a:pt x="80650" y="85647"/>
                    <a:pt x="78645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8468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4" name="Gruppe 23">
            <a:extLst>
              <a:ext uri="{FF2B5EF4-FFF2-40B4-BE49-F238E27FC236}">
                <a16:creationId xmlns:a16="http://schemas.microsoft.com/office/drawing/2014/main" id="{E6FEDFEE-F7B0-4148-A7EE-36285E92E9DE}"/>
              </a:ext>
            </a:extLst>
          </p:cNvPr>
          <p:cNvGrpSpPr/>
          <p:nvPr userDrawn="1"/>
        </p:nvGrpSpPr>
        <p:grpSpPr>
          <a:xfrm>
            <a:off x="1308673" y="3833454"/>
            <a:ext cx="627481" cy="870110"/>
            <a:chOff x="2960374" y="4076697"/>
            <a:chExt cx="627481" cy="870110"/>
          </a:xfrm>
        </p:grpSpPr>
        <p:sp>
          <p:nvSpPr>
            <p:cNvPr id="14" name="Tekstfelt 13">
              <a:extLst>
                <a:ext uri="{FF2B5EF4-FFF2-40B4-BE49-F238E27FC236}">
                  <a16:creationId xmlns:a16="http://schemas.microsoft.com/office/drawing/2014/main" id="{127A65BA-C169-D54B-B96E-F56314E0BB16}"/>
                </a:ext>
              </a:extLst>
            </p:cNvPr>
            <p:cNvSpPr txBox="1"/>
            <p:nvPr/>
          </p:nvSpPr>
          <p:spPr>
            <a:xfrm>
              <a:off x="3074573" y="4076697"/>
              <a:ext cx="513282" cy="87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054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3</a:t>
              </a:r>
            </a:p>
          </p:txBody>
        </p:sp>
        <p:sp>
          <p:nvSpPr>
            <p:cNvPr id="20" name="Kombinationstegning 19">
              <a:extLst>
                <a:ext uri="{FF2B5EF4-FFF2-40B4-BE49-F238E27FC236}">
                  <a16:creationId xmlns:a16="http://schemas.microsoft.com/office/drawing/2014/main" id="{6EB7399E-C2DB-DD4F-B1F2-9C7FFD133BBE}"/>
                </a:ext>
              </a:extLst>
            </p:cNvPr>
            <p:cNvSpPr/>
            <p:nvPr/>
          </p:nvSpPr>
          <p:spPr>
            <a:xfrm>
              <a:off x="2960374" y="4178700"/>
              <a:ext cx="572724" cy="608067"/>
            </a:xfrm>
            <a:custGeom>
              <a:avLst/>
              <a:gdLst>
                <a:gd name="connsiteX0" fmla="*/ 17465 w 572724"/>
                <a:gd name="connsiteY0" fmla="*/ 206977 h 608067"/>
                <a:gd name="connsiteX1" fmla="*/ 15459 w 572724"/>
                <a:gd name="connsiteY1" fmla="*/ 213996 h 608067"/>
                <a:gd name="connsiteX2" fmla="*/ 40533 w 572724"/>
                <a:gd name="connsiteY2" fmla="*/ 142802 h 608067"/>
                <a:gd name="connsiteX3" fmla="*/ 6433 w 572724"/>
                <a:gd name="connsiteY3" fmla="*/ 223021 h 608067"/>
                <a:gd name="connsiteX4" fmla="*/ 8439 w 572724"/>
                <a:gd name="connsiteY4" fmla="*/ 300230 h 608067"/>
                <a:gd name="connsiteX5" fmla="*/ 415 w 572724"/>
                <a:gd name="connsiteY5" fmla="*/ 331315 h 608067"/>
                <a:gd name="connsiteX6" fmla="*/ 1418 w 572724"/>
                <a:gd name="connsiteY6" fmla="*/ 359391 h 608067"/>
                <a:gd name="connsiteX7" fmla="*/ 10445 w 572724"/>
                <a:gd name="connsiteY7" fmla="*/ 392481 h 608067"/>
                <a:gd name="connsiteX8" fmla="*/ 4427 w 572724"/>
                <a:gd name="connsiteY8" fmla="*/ 369418 h 608067"/>
                <a:gd name="connsiteX9" fmla="*/ 10445 w 572724"/>
                <a:gd name="connsiteY9" fmla="*/ 392481 h 608067"/>
                <a:gd name="connsiteX10" fmla="*/ 29501 w 572724"/>
                <a:gd name="connsiteY10" fmla="*/ 445626 h 608067"/>
                <a:gd name="connsiteX11" fmla="*/ 60592 w 572724"/>
                <a:gd name="connsiteY11" fmla="*/ 496765 h 608067"/>
                <a:gd name="connsiteX12" fmla="*/ 156874 w 572724"/>
                <a:gd name="connsiteY12" fmla="*/ 569964 h 608067"/>
                <a:gd name="connsiteX13" fmla="*/ 257167 w 572724"/>
                <a:gd name="connsiteY13" fmla="*/ 601048 h 608067"/>
                <a:gd name="connsiteX14" fmla="*/ 317343 w 572724"/>
                <a:gd name="connsiteY14" fmla="*/ 608067 h 608067"/>
                <a:gd name="connsiteX15" fmla="*/ 364482 w 572724"/>
                <a:gd name="connsiteY15" fmla="*/ 607064 h 608067"/>
                <a:gd name="connsiteX16" fmla="*/ 385543 w 572724"/>
                <a:gd name="connsiteY16" fmla="*/ 604056 h 608067"/>
                <a:gd name="connsiteX17" fmla="*/ 362476 w 572724"/>
                <a:gd name="connsiteY17" fmla="*/ 606062 h 608067"/>
                <a:gd name="connsiteX18" fmla="*/ 438699 w 572724"/>
                <a:gd name="connsiteY18" fmla="*/ 578988 h 608067"/>
                <a:gd name="connsiteX19" fmla="*/ 422652 w 572724"/>
                <a:gd name="connsiteY19" fmla="*/ 580994 h 608067"/>
                <a:gd name="connsiteX20" fmla="*/ 434687 w 572724"/>
                <a:gd name="connsiteY20" fmla="*/ 576983 h 608067"/>
                <a:gd name="connsiteX21" fmla="*/ 476810 w 572724"/>
                <a:gd name="connsiteY21" fmla="*/ 546901 h 608067"/>
                <a:gd name="connsiteX22" fmla="*/ 490852 w 572724"/>
                <a:gd name="connsiteY22" fmla="*/ 537876 h 608067"/>
                <a:gd name="connsiteX23" fmla="*/ 487843 w 572724"/>
                <a:gd name="connsiteY23" fmla="*/ 538879 h 608067"/>
                <a:gd name="connsiteX24" fmla="*/ 521942 w 572724"/>
                <a:gd name="connsiteY24" fmla="*/ 498770 h 608067"/>
                <a:gd name="connsiteX25" fmla="*/ 543004 w 572724"/>
                <a:gd name="connsiteY25" fmla="*/ 454650 h 608067"/>
                <a:gd name="connsiteX26" fmla="*/ 547016 w 572724"/>
                <a:gd name="connsiteY26" fmla="*/ 446628 h 608067"/>
                <a:gd name="connsiteX27" fmla="*/ 553034 w 572724"/>
                <a:gd name="connsiteY27" fmla="*/ 419555 h 608067"/>
                <a:gd name="connsiteX28" fmla="*/ 559051 w 572724"/>
                <a:gd name="connsiteY28" fmla="*/ 411533 h 608067"/>
                <a:gd name="connsiteX29" fmla="*/ 566072 w 572724"/>
                <a:gd name="connsiteY29" fmla="*/ 352372 h 608067"/>
                <a:gd name="connsiteX30" fmla="*/ 571087 w 572724"/>
                <a:gd name="connsiteY30" fmla="*/ 246083 h 608067"/>
                <a:gd name="connsiteX31" fmla="*/ 528963 w 572724"/>
                <a:gd name="connsiteY31" fmla="*/ 144808 h 608067"/>
                <a:gd name="connsiteX32" fmla="*/ 528963 w 572724"/>
                <a:gd name="connsiteY32" fmla="*/ 146813 h 608067"/>
                <a:gd name="connsiteX33" fmla="*/ 469790 w 572724"/>
                <a:gd name="connsiteY33" fmla="*/ 96677 h 608067"/>
                <a:gd name="connsiteX34" fmla="*/ 437696 w 572724"/>
                <a:gd name="connsiteY34" fmla="*/ 83642 h 608067"/>
                <a:gd name="connsiteX35" fmla="*/ 422652 w 572724"/>
                <a:gd name="connsiteY35" fmla="*/ 80633 h 608067"/>
                <a:gd name="connsiteX36" fmla="*/ 412622 w 572724"/>
                <a:gd name="connsiteY36" fmla="*/ 80633 h 608067"/>
                <a:gd name="connsiteX37" fmla="*/ 397578 w 572724"/>
                <a:gd name="connsiteY37" fmla="*/ 77625 h 608067"/>
                <a:gd name="connsiteX38" fmla="*/ 384540 w 572724"/>
                <a:gd name="connsiteY38" fmla="*/ 76623 h 608067"/>
                <a:gd name="connsiteX39" fmla="*/ 372505 w 572724"/>
                <a:gd name="connsiteY39" fmla="*/ 76623 h 608067"/>
                <a:gd name="connsiteX40" fmla="*/ 357461 w 572724"/>
                <a:gd name="connsiteY40" fmla="*/ 77625 h 608067"/>
                <a:gd name="connsiteX41" fmla="*/ 350441 w 572724"/>
                <a:gd name="connsiteY41" fmla="*/ 80633 h 608067"/>
                <a:gd name="connsiteX42" fmla="*/ 347432 w 572724"/>
                <a:gd name="connsiteY42" fmla="*/ 82639 h 608067"/>
                <a:gd name="connsiteX43" fmla="*/ 374511 w 572724"/>
                <a:gd name="connsiteY43" fmla="*/ 85647 h 608067"/>
                <a:gd name="connsiteX44" fmla="*/ 374511 w 572724"/>
                <a:gd name="connsiteY44" fmla="*/ 84644 h 608067"/>
                <a:gd name="connsiteX45" fmla="*/ 451737 w 572724"/>
                <a:gd name="connsiteY45" fmla="*/ 115729 h 608067"/>
                <a:gd name="connsiteX46" fmla="*/ 507901 w 572724"/>
                <a:gd name="connsiteY46" fmla="*/ 175892 h 608067"/>
                <a:gd name="connsiteX47" fmla="*/ 528963 w 572724"/>
                <a:gd name="connsiteY47" fmla="*/ 228034 h 608067"/>
                <a:gd name="connsiteX48" fmla="*/ 531972 w 572724"/>
                <a:gd name="connsiteY48" fmla="*/ 288198 h 608067"/>
                <a:gd name="connsiteX49" fmla="*/ 524951 w 572724"/>
                <a:gd name="connsiteY49" fmla="*/ 357386 h 608067"/>
                <a:gd name="connsiteX50" fmla="*/ 513919 w 572724"/>
                <a:gd name="connsiteY50" fmla="*/ 420557 h 608067"/>
                <a:gd name="connsiteX51" fmla="*/ 503890 w 572724"/>
                <a:gd name="connsiteY51" fmla="*/ 441615 h 608067"/>
                <a:gd name="connsiteX52" fmla="*/ 477813 w 572724"/>
                <a:gd name="connsiteY52" fmla="*/ 489746 h 608067"/>
                <a:gd name="connsiteX53" fmla="*/ 434687 w 572724"/>
                <a:gd name="connsiteY53" fmla="*/ 527849 h 608067"/>
                <a:gd name="connsiteX54" fmla="*/ 436693 w 572724"/>
                <a:gd name="connsiteY54" fmla="*/ 526846 h 608067"/>
                <a:gd name="connsiteX55" fmla="*/ 385543 w 572724"/>
                <a:gd name="connsiteY55" fmla="*/ 545898 h 608067"/>
                <a:gd name="connsiteX56" fmla="*/ 381531 w 572724"/>
                <a:gd name="connsiteY56" fmla="*/ 547904 h 608067"/>
                <a:gd name="connsiteX57" fmla="*/ 361473 w 572724"/>
                <a:gd name="connsiteY57" fmla="*/ 550912 h 608067"/>
                <a:gd name="connsiteX58" fmla="*/ 320352 w 572724"/>
                <a:gd name="connsiteY58" fmla="*/ 556928 h 608067"/>
                <a:gd name="connsiteX59" fmla="*/ 254159 w 572724"/>
                <a:gd name="connsiteY59" fmla="*/ 553920 h 608067"/>
                <a:gd name="connsiteX60" fmla="*/ 247138 w 572724"/>
                <a:gd name="connsiteY60" fmla="*/ 552917 h 608067"/>
                <a:gd name="connsiteX61" fmla="*/ 184956 w 572724"/>
                <a:gd name="connsiteY61" fmla="*/ 529855 h 608067"/>
                <a:gd name="connsiteX62" fmla="*/ 133806 w 572724"/>
                <a:gd name="connsiteY62" fmla="*/ 500776 h 608067"/>
                <a:gd name="connsiteX63" fmla="*/ 112744 w 572724"/>
                <a:gd name="connsiteY63" fmla="*/ 490748 h 608067"/>
                <a:gd name="connsiteX64" fmla="*/ 100709 w 572724"/>
                <a:gd name="connsiteY64" fmla="*/ 480721 h 608067"/>
                <a:gd name="connsiteX65" fmla="*/ 87671 w 572724"/>
                <a:gd name="connsiteY65" fmla="*/ 464677 h 608067"/>
                <a:gd name="connsiteX66" fmla="*/ 64604 w 572724"/>
                <a:gd name="connsiteY66" fmla="*/ 425571 h 608067"/>
                <a:gd name="connsiteX67" fmla="*/ 56580 w 572724"/>
                <a:gd name="connsiteY67" fmla="*/ 407522 h 608067"/>
                <a:gd name="connsiteX68" fmla="*/ 55577 w 572724"/>
                <a:gd name="connsiteY68" fmla="*/ 395489 h 608067"/>
                <a:gd name="connsiteX69" fmla="*/ 51565 w 572724"/>
                <a:gd name="connsiteY69" fmla="*/ 369418 h 608067"/>
                <a:gd name="connsiteX70" fmla="*/ 47553 w 572724"/>
                <a:gd name="connsiteY70" fmla="*/ 347358 h 608067"/>
                <a:gd name="connsiteX71" fmla="*/ 43542 w 572724"/>
                <a:gd name="connsiteY71" fmla="*/ 325299 h 608067"/>
                <a:gd name="connsiteX72" fmla="*/ 43542 w 572724"/>
                <a:gd name="connsiteY72" fmla="*/ 328307 h 608067"/>
                <a:gd name="connsiteX73" fmla="*/ 48556 w 572724"/>
                <a:gd name="connsiteY73" fmla="*/ 280176 h 608067"/>
                <a:gd name="connsiteX74" fmla="*/ 61595 w 572724"/>
                <a:gd name="connsiteY74" fmla="*/ 205974 h 608067"/>
                <a:gd name="connsiteX75" fmla="*/ 89677 w 572724"/>
                <a:gd name="connsiteY75" fmla="*/ 139794 h 608067"/>
                <a:gd name="connsiteX76" fmla="*/ 82656 w 572724"/>
                <a:gd name="connsiteY76" fmla="*/ 147816 h 608067"/>
                <a:gd name="connsiteX77" fmla="*/ 132803 w 572724"/>
                <a:gd name="connsiteY77" fmla="*/ 87652 h 608067"/>
                <a:gd name="connsiteX78" fmla="*/ 143835 w 572724"/>
                <a:gd name="connsiteY78" fmla="*/ 81636 h 608067"/>
                <a:gd name="connsiteX79" fmla="*/ 151859 w 572724"/>
                <a:gd name="connsiteY79" fmla="*/ 74617 h 608067"/>
                <a:gd name="connsiteX80" fmla="*/ 153865 w 572724"/>
                <a:gd name="connsiteY80" fmla="*/ 75620 h 608067"/>
                <a:gd name="connsiteX81" fmla="*/ 171918 w 572724"/>
                <a:gd name="connsiteY81" fmla="*/ 64590 h 608067"/>
                <a:gd name="connsiteX82" fmla="*/ 176932 w 572724"/>
                <a:gd name="connsiteY82" fmla="*/ 60579 h 608067"/>
                <a:gd name="connsiteX83" fmla="*/ 184956 w 572724"/>
                <a:gd name="connsiteY83" fmla="*/ 58573 h 608067"/>
                <a:gd name="connsiteX84" fmla="*/ 184956 w 572724"/>
                <a:gd name="connsiteY84" fmla="*/ 58573 h 608067"/>
                <a:gd name="connsiteX85" fmla="*/ 189971 w 572724"/>
                <a:gd name="connsiteY85" fmla="*/ 56568 h 608067"/>
                <a:gd name="connsiteX86" fmla="*/ 206017 w 572724"/>
                <a:gd name="connsiteY86" fmla="*/ 45538 h 608067"/>
                <a:gd name="connsiteX87" fmla="*/ 223067 w 572724"/>
                <a:gd name="connsiteY87" fmla="*/ 35511 h 608067"/>
                <a:gd name="connsiteX88" fmla="*/ 225073 w 572724"/>
                <a:gd name="connsiteY88" fmla="*/ 35511 h 608067"/>
                <a:gd name="connsiteX89" fmla="*/ 228082 w 572724"/>
                <a:gd name="connsiteY89" fmla="*/ 32503 h 608067"/>
                <a:gd name="connsiteX90" fmla="*/ 234100 w 572724"/>
                <a:gd name="connsiteY90" fmla="*/ 31500 h 608067"/>
                <a:gd name="connsiteX91" fmla="*/ 233097 w 572724"/>
                <a:gd name="connsiteY91" fmla="*/ 31500 h 608067"/>
                <a:gd name="connsiteX92" fmla="*/ 239114 w 572724"/>
                <a:gd name="connsiteY92" fmla="*/ 30497 h 608067"/>
                <a:gd name="connsiteX93" fmla="*/ 240117 w 572724"/>
                <a:gd name="connsiteY93" fmla="*/ 32503 h 608067"/>
                <a:gd name="connsiteX94" fmla="*/ 250147 w 572724"/>
                <a:gd name="connsiteY94" fmla="*/ 30497 h 608067"/>
                <a:gd name="connsiteX95" fmla="*/ 219056 w 572724"/>
                <a:gd name="connsiteY95" fmla="*/ 31500 h 608067"/>
                <a:gd name="connsiteX96" fmla="*/ 234100 w 572724"/>
                <a:gd name="connsiteY96" fmla="*/ 27489 h 608067"/>
                <a:gd name="connsiteX97" fmla="*/ 245132 w 572724"/>
                <a:gd name="connsiteY97" fmla="*/ 27489 h 608067"/>
                <a:gd name="connsiteX98" fmla="*/ 258170 w 572724"/>
                <a:gd name="connsiteY98" fmla="*/ 27489 h 608067"/>
                <a:gd name="connsiteX99" fmla="*/ 265191 w 572724"/>
                <a:gd name="connsiteY99" fmla="*/ 25483 h 608067"/>
                <a:gd name="connsiteX100" fmla="*/ 273214 w 572724"/>
                <a:gd name="connsiteY100" fmla="*/ 26486 h 608067"/>
                <a:gd name="connsiteX101" fmla="*/ 261179 w 572724"/>
                <a:gd name="connsiteY101" fmla="*/ 27489 h 608067"/>
                <a:gd name="connsiteX102" fmla="*/ 266194 w 572724"/>
                <a:gd name="connsiteY102" fmla="*/ 28492 h 608067"/>
                <a:gd name="connsiteX103" fmla="*/ 273214 w 572724"/>
                <a:gd name="connsiteY103" fmla="*/ 28492 h 608067"/>
                <a:gd name="connsiteX104" fmla="*/ 287255 w 572724"/>
                <a:gd name="connsiteY104" fmla="*/ 28492 h 608067"/>
                <a:gd name="connsiteX105" fmla="*/ 293273 w 572724"/>
                <a:gd name="connsiteY105" fmla="*/ 31500 h 608067"/>
                <a:gd name="connsiteX106" fmla="*/ 297285 w 572724"/>
                <a:gd name="connsiteY106" fmla="*/ 30497 h 608067"/>
                <a:gd name="connsiteX107" fmla="*/ 289261 w 572724"/>
                <a:gd name="connsiteY107" fmla="*/ 25483 h 608067"/>
                <a:gd name="connsiteX108" fmla="*/ 300294 w 572724"/>
                <a:gd name="connsiteY108" fmla="*/ 27489 h 608067"/>
                <a:gd name="connsiteX109" fmla="*/ 300294 w 572724"/>
                <a:gd name="connsiteY109" fmla="*/ 25483 h 608067"/>
                <a:gd name="connsiteX110" fmla="*/ 310323 w 572724"/>
                <a:gd name="connsiteY110" fmla="*/ 27489 h 608067"/>
                <a:gd name="connsiteX111" fmla="*/ 307314 w 572724"/>
                <a:gd name="connsiteY111" fmla="*/ 26486 h 608067"/>
                <a:gd name="connsiteX112" fmla="*/ 296282 w 572724"/>
                <a:gd name="connsiteY112" fmla="*/ 28492 h 608067"/>
                <a:gd name="connsiteX113" fmla="*/ 286252 w 572724"/>
                <a:gd name="connsiteY113" fmla="*/ 30497 h 608067"/>
                <a:gd name="connsiteX114" fmla="*/ 299291 w 572724"/>
                <a:gd name="connsiteY114" fmla="*/ 27489 h 608067"/>
                <a:gd name="connsiteX115" fmla="*/ 311326 w 572724"/>
                <a:gd name="connsiteY115" fmla="*/ 26486 h 608067"/>
                <a:gd name="connsiteX116" fmla="*/ 311326 w 572724"/>
                <a:gd name="connsiteY116" fmla="*/ 23478 h 608067"/>
                <a:gd name="connsiteX117" fmla="*/ 307314 w 572724"/>
                <a:gd name="connsiteY117" fmla="*/ 24481 h 608067"/>
                <a:gd name="connsiteX118" fmla="*/ 303302 w 572724"/>
                <a:gd name="connsiteY118" fmla="*/ 20470 h 608067"/>
                <a:gd name="connsiteX119" fmla="*/ 296282 w 572724"/>
                <a:gd name="connsiteY119" fmla="*/ 23478 h 608067"/>
                <a:gd name="connsiteX120" fmla="*/ 288258 w 572724"/>
                <a:gd name="connsiteY120" fmla="*/ 25483 h 608067"/>
                <a:gd name="connsiteX121" fmla="*/ 286252 w 572724"/>
                <a:gd name="connsiteY121" fmla="*/ 24481 h 608067"/>
                <a:gd name="connsiteX122" fmla="*/ 298288 w 572724"/>
                <a:gd name="connsiteY122" fmla="*/ 25483 h 608067"/>
                <a:gd name="connsiteX123" fmla="*/ 305308 w 572724"/>
                <a:gd name="connsiteY123" fmla="*/ 24481 h 608067"/>
                <a:gd name="connsiteX124" fmla="*/ 306311 w 572724"/>
                <a:gd name="connsiteY124" fmla="*/ 24481 h 608067"/>
                <a:gd name="connsiteX125" fmla="*/ 312329 w 572724"/>
                <a:gd name="connsiteY125" fmla="*/ 23478 h 608067"/>
                <a:gd name="connsiteX126" fmla="*/ 310323 w 572724"/>
                <a:gd name="connsiteY126" fmla="*/ 16459 h 608067"/>
                <a:gd name="connsiteX127" fmla="*/ 309320 w 572724"/>
                <a:gd name="connsiteY127" fmla="*/ 9440 h 608067"/>
                <a:gd name="connsiteX128" fmla="*/ 298288 w 572724"/>
                <a:gd name="connsiteY128" fmla="*/ 10443 h 608067"/>
                <a:gd name="connsiteX129" fmla="*/ 288258 w 572724"/>
                <a:gd name="connsiteY129" fmla="*/ 6432 h 608067"/>
                <a:gd name="connsiteX130" fmla="*/ 284247 w 572724"/>
                <a:gd name="connsiteY130" fmla="*/ 7434 h 608067"/>
                <a:gd name="connsiteX131" fmla="*/ 277226 w 572724"/>
                <a:gd name="connsiteY131" fmla="*/ 4426 h 608067"/>
                <a:gd name="connsiteX132" fmla="*/ 266194 w 572724"/>
                <a:gd name="connsiteY132" fmla="*/ 4426 h 608067"/>
                <a:gd name="connsiteX133" fmla="*/ 263185 w 572724"/>
                <a:gd name="connsiteY133" fmla="*/ 6432 h 608067"/>
                <a:gd name="connsiteX134" fmla="*/ 243126 w 572724"/>
                <a:gd name="connsiteY134" fmla="*/ 7434 h 608067"/>
                <a:gd name="connsiteX135" fmla="*/ 239114 w 572724"/>
                <a:gd name="connsiteY135" fmla="*/ 2421 h 608067"/>
                <a:gd name="connsiteX136" fmla="*/ 246135 w 572724"/>
                <a:gd name="connsiteY136" fmla="*/ 4426 h 608067"/>
                <a:gd name="connsiteX137" fmla="*/ 256164 w 572724"/>
                <a:gd name="connsiteY137" fmla="*/ 415 h 608067"/>
                <a:gd name="connsiteX138" fmla="*/ 241120 w 572724"/>
                <a:gd name="connsiteY138" fmla="*/ 1418 h 608067"/>
                <a:gd name="connsiteX139" fmla="*/ 242123 w 572724"/>
                <a:gd name="connsiteY139" fmla="*/ 1418 h 608067"/>
                <a:gd name="connsiteX140" fmla="*/ 222064 w 572724"/>
                <a:gd name="connsiteY140" fmla="*/ 4426 h 608067"/>
                <a:gd name="connsiteX141" fmla="*/ 224070 w 572724"/>
                <a:gd name="connsiteY141" fmla="*/ 1418 h 608067"/>
                <a:gd name="connsiteX142" fmla="*/ 217050 w 572724"/>
                <a:gd name="connsiteY142" fmla="*/ 2421 h 608067"/>
                <a:gd name="connsiteX143" fmla="*/ 217050 w 572724"/>
                <a:gd name="connsiteY143" fmla="*/ 3424 h 608067"/>
                <a:gd name="connsiteX144" fmla="*/ 208023 w 572724"/>
                <a:gd name="connsiteY144" fmla="*/ 5429 h 608067"/>
                <a:gd name="connsiteX145" fmla="*/ 191976 w 572724"/>
                <a:gd name="connsiteY145" fmla="*/ 13451 h 608067"/>
                <a:gd name="connsiteX146" fmla="*/ 177935 w 572724"/>
                <a:gd name="connsiteY146" fmla="*/ 22475 h 608067"/>
                <a:gd name="connsiteX147" fmla="*/ 167906 w 572724"/>
                <a:gd name="connsiteY147" fmla="*/ 26486 h 608067"/>
                <a:gd name="connsiteX148" fmla="*/ 173924 w 572724"/>
                <a:gd name="connsiteY148" fmla="*/ 23478 h 608067"/>
                <a:gd name="connsiteX149" fmla="*/ 186962 w 572724"/>
                <a:gd name="connsiteY149" fmla="*/ 15456 h 608067"/>
                <a:gd name="connsiteX150" fmla="*/ 200000 w 572724"/>
                <a:gd name="connsiteY150" fmla="*/ 8437 h 608067"/>
                <a:gd name="connsiteX151" fmla="*/ 203009 w 572724"/>
                <a:gd name="connsiteY151" fmla="*/ 6432 h 608067"/>
                <a:gd name="connsiteX152" fmla="*/ 192979 w 572724"/>
                <a:gd name="connsiteY152" fmla="*/ 10443 h 608067"/>
                <a:gd name="connsiteX153" fmla="*/ 175929 w 572724"/>
                <a:gd name="connsiteY153" fmla="*/ 19467 h 608067"/>
                <a:gd name="connsiteX154" fmla="*/ 159883 w 572724"/>
                <a:gd name="connsiteY154" fmla="*/ 29494 h 608067"/>
                <a:gd name="connsiteX155" fmla="*/ 151859 w 572724"/>
                <a:gd name="connsiteY155" fmla="*/ 34508 h 608067"/>
                <a:gd name="connsiteX156" fmla="*/ 146844 w 572724"/>
                <a:gd name="connsiteY156" fmla="*/ 39522 h 608067"/>
                <a:gd name="connsiteX157" fmla="*/ 142832 w 572724"/>
                <a:gd name="connsiteY157" fmla="*/ 38519 h 608067"/>
                <a:gd name="connsiteX158" fmla="*/ 141829 w 572724"/>
                <a:gd name="connsiteY158" fmla="*/ 39522 h 608067"/>
                <a:gd name="connsiteX159" fmla="*/ 137818 w 572724"/>
                <a:gd name="connsiteY159" fmla="*/ 40524 h 608067"/>
                <a:gd name="connsiteX160" fmla="*/ 124780 w 572724"/>
                <a:gd name="connsiteY160" fmla="*/ 50552 h 608067"/>
                <a:gd name="connsiteX161" fmla="*/ 112744 w 572724"/>
                <a:gd name="connsiteY161" fmla="*/ 62584 h 608067"/>
                <a:gd name="connsiteX162" fmla="*/ 118762 w 572724"/>
                <a:gd name="connsiteY162" fmla="*/ 50552 h 608067"/>
                <a:gd name="connsiteX163" fmla="*/ 119765 w 572724"/>
                <a:gd name="connsiteY163" fmla="*/ 50552 h 608067"/>
                <a:gd name="connsiteX164" fmla="*/ 122774 w 572724"/>
                <a:gd name="connsiteY164" fmla="*/ 45538 h 608067"/>
                <a:gd name="connsiteX165" fmla="*/ 109736 w 572724"/>
                <a:gd name="connsiteY165" fmla="*/ 57571 h 608067"/>
                <a:gd name="connsiteX166" fmla="*/ 106727 w 572724"/>
                <a:gd name="connsiteY166" fmla="*/ 59576 h 608067"/>
                <a:gd name="connsiteX167" fmla="*/ 106727 w 572724"/>
                <a:gd name="connsiteY167" fmla="*/ 59576 h 608067"/>
                <a:gd name="connsiteX168" fmla="*/ 104721 w 572724"/>
                <a:gd name="connsiteY168" fmla="*/ 59576 h 608067"/>
                <a:gd name="connsiteX169" fmla="*/ 104721 w 572724"/>
                <a:gd name="connsiteY169" fmla="*/ 58573 h 608067"/>
                <a:gd name="connsiteX170" fmla="*/ 93689 w 572724"/>
                <a:gd name="connsiteY170" fmla="*/ 68601 h 608067"/>
                <a:gd name="connsiteX171" fmla="*/ 80650 w 572724"/>
                <a:gd name="connsiteY171" fmla="*/ 84644 h 608067"/>
                <a:gd name="connsiteX172" fmla="*/ 78645 w 572724"/>
                <a:gd name="connsiteY172" fmla="*/ 88655 h 608067"/>
                <a:gd name="connsiteX173" fmla="*/ 58586 w 572724"/>
                <a:gd name="connsiteY173" fmla="*/ 112721 h 608067"/>
                <a:gd name="connsiteX174" fmla="*/ 61595 w 572724"/>
                <a:gd name="connsiteY174" fmla="*/ 113723 h 608067"/>
                <a:gd name="connsiteX175" fmla="*/ 56580 w 572724"/>
                <a:gd name="connsiteY175" fmla="*/ 121745 h 608067"/>
                <a:gd name="connsiteX176" fmla="*/ 51565 w 572724"/>
                <a:gd name="connsiteY176" fmla="*/ 123751 h 608067"/>
                <a:gd name="connsiteX177" fmla="*/ 46550 w 572724"/>
                <a:gd name="connsiteY177" fmla="*/ 124753 h 608067"/>
                <a:gd name="connsiteX178" fmla="*/ 40533 w 572724"/>
                <a:gd name="connsiteY178" fmla="*/ 136786 h 608067"/>
                <a:gd name="connsiteX179" fmla="*/ 39530 w 572724"/>
                <a:gd name="connsiteY179" fmla="*/ 144808 h 608067"/>
                <a:gd name="connsiteX180" fmla="*/ 31506 w 572724"/>
                <a:gd name="connsiteY180" fmla="*/ 156841 h 608067"/>
                <a:gd name="connsiteX181" fmla="*/ 29501 w 572724"/>
                <a:gd name="connsiteY181" fmla="*/ 154835 h 608067"/>
                <a:gd name="connsiteX182" fmla="*/ 19471 w 572724"/>
                <a:gd name="connsiteY182" fmla="*/ 173887 h 608067"/>
                <a:gd name="connsiteX183" fmla="*/ 16462 w 572724"/>
                <a:gd name="connsiteY183" fmla="*/ 194944 h 608067"/>
                <a:gd name="connsiteX184" fmla="*/ 17465 w 572724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4" h="608067">
                  <a:moveTo>
                    <a:pt x="17465" y="206977"/>
                  </a:moveTo>
                  <a:lnTo>
                    <a:pt x="15459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1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7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59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2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3" y="579991"/>
                    <a:pt x="430675" y="578988"/>
                    <a:pt x="434687" y="576983"/>
                  </a:cubicBezTo>
                  <a:cubicBezTo>
                    <a:pt x="444717" y="569964"/>
                    <a:pt x="467784" y="555925"/>
                    <a:pt x="476810" y="546901"/>
                  </a:cubicBezTo>
                  <a:cubicBezTo>
                    <a:pt x="475808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2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40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7" y="319282"/>
                    <a:pt x="575098" y="283184"/>
                    <a:pt x="571087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1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9" y="76623"/>
                    <a:pt x="376517" y="76623"/>
                    <a:pt x="372505" y="76623"/>
                  </a:cubicBezTo>
                  <a:cubicBezTo>
                    <a:pt x="368493" y="76623"/>
                    <a:pt x="363479" y="76623"/>
                    <a:pt x="357461" y="77625"/>
                  </a:cubicBezTo>
                  <a:cubicBezTo>
                    <a:pt x="360470" y="78628"/>
                    <a:pt x="355455" y="79631"/>
                    <a:pt x="350441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5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2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9" y="546901"/>
                    <a:pt x="372505" y="548906"/>
                    <a:pt x="361473" y="550912"/>
                  </a:cubicBezTo>
                  <a:cubicBezTo>
                    <a:pt x="350441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9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7"/>
                    <a:pt x="64604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7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3" y="68601"/>
                    <a:pt x="165900" y="70606"/>
                    <a:pt x="171918" y="64590"/>
                  </a:cubicBezTo>
                  <a:cubicBezTo>
                    <a:pt x="171918" y="63587"/>
                    <a:pt x="173924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1" y="56568"/>
                  </a:cubicBezTo>
                  <a:cubicBezTo>
                    <a:pt x="190973" y="55565"/>
                    <a:pt x="197994" y="49549"/>
                    <a:pt x="206017" y="45538"/>
                  </a:cubicBezTo>
                  <a:cubicBezTo>
                    <a:pt x="213038" y="40524"/>
                    <a:pt x="221061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9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6" y="25483"/>
                    <a:pt x="273214" y="26486"/>
                  </a:cubicBezTo>
                  <a:cubicBezTo>
                    <a:pt x="269203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3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50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50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50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6" y="22475"/>
                    <a:pt x="296282" y="23478"/>
                  </a:cubicBezTo>
                  <a:cubicBezTo>
                    <a:pt x="291267" y="24481"/>
                    <a:pt x="285250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0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50" y="7434"/>
                    <a:pt x="284247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5" y="6432"/>
                    <a:pt x="246135" y="4426"/>
                  </a:cubicBezTo>
                  <a:cubicBezTo>
                    <a:pt x="241120" y="2421"/>
                    <a:pt x="255162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1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4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4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3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6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9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5" y="87652"/>
                    <a:pt x="80650" y="85647"/>
                    <a:pt x="78645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3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8468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5" name="Gruppe 24">
            <a:extLst>
              <a:ext uri="{FF2B5EF4-FFF2-40B4-BE49-F238E27FC236}">
                <a16:creationId xmlns:a16="http://schemas.microsoft.com/office/drawing/2014/main" id="{18CE61A2-D431-9A4C-8373-1E05182494CA}"/>
              </a:ext>
            </a:extLst>
          </p:cNvPr>
          <p:cNvGrpSpPr/>
          <p:nvPr userDrawn="1"/>
        </p:nvGrpSpPr>
        <p:grpSpPr>
          <a:xfrm>
            <a:off x="1308676" y="4692804"/>
            <a:ext cx="577040" cy="833754"/>
            <a:chOff x="3696530" y="4107267"/>
            <a:chExt cx="577040" cy="833754"/>
          </a:xfrm>
        </p:grpSpPr>
        <p:sp>
          <p:nvSpPr>
            <p:cNvPr id="15" name="Tekstfelt 14">
              <a:extLst>
                <a:ext uri="{FF2B5EF4-FFF2-40B4-BE49-F238E27FC236}">
                  <a16:creationId xmlns:a16="http://schemas.microsoft.com/office/drawing/2014/main" id="{F99AFC48-91AC-5F4D-B792-9F3BC4563246}"/>
                </a:ext>
              </a:extLst>
            </p:cNvPr>
            <p:cNvSpPr txBox="1"/>
            <p:nvPr/>
          </p:nvSpPr>
          <p:spPr>
            <a:xfrm>
              <a:off x="3776318" y="4107267"/>
              <a:ext cx="497252" cy="8337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4818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4</a:t>
              </a:r>
            </a:p>
          </p:txBody>
        </p:sp>
        <p:sp>
          <p:nvSpPr>
            <p:cNvPr id="21" name="Kombinationstegning 20">
              <a:extLst>
                <a:ext uri="{FF2B5EF4-FFF2-40B4-BE49-F238E27FC236}">
                  <a16:creationId xmlns:a16="http://schemas.microsoft.com/office/drawing/2014/main" id="{37E26D19-BA0B-7B4A-98E7-0A65C7D39993}"/>
                </a:ext>
              </a:extLst>
            </p:cNvPr>
            <p:cNvSpPr/>
            <p:nvPr/>
          </p:nvSpPr>
          <p:spPr>
            <a:xfrm>
              <a:off x="3696530" y="4164662"/>
              <a:ext cx="572723" cy="608067"/>
            </a:xfrm>
            <a:custGeom>
              <a:avLst/>
              <a:gdLst>
                <a:gd name="connsiteX0" fmla="*/ 17465 w 572723"/>
                <a:gd name="connsiteY0" fmla="*/ 206977 h 608067"/>
                <a:gd name="connsiteX1" fmla="*/ 15460 w 572723"/>
                <a:gd name="connsiteY1" fmla="*/ 213996 h 608067"/>
                <a:gd name="connsiteX2" fmla="*/ 40533 w 572723"/>
                <a:gd name="connsiteY2" fmla="*/ 142802 h 608067"/>
                <a:gd name="connsiteX3" fmla="*/ 6433 w 572723"/>
                <a:gd name="connsiteY3" fmla="*/ 223020 h 608067"/>
                <a:gd name="connsiteX4" fmla="*/ 8439 w 572723"/>
                <a:gd name="connsiteY4" fmla="*/ 300230 h 608067"/>
                <a:gd name="connsiteX5" fmla="*/ 415 w 572723"/>
                <a:gd name="connsiteY5" fmla="*/ 331315 h 608067"/>
                <a:gd name="connsiteX6" fmla="*/ 1418 w 572723"/>
                <a:gd name="connsiteY6" fmla="*/ 359391 h 608067"/>
                <a:gd name="connsiteX7" fmla="*/ 10445 w 572723"/>
                <a:gd name="connsiteY7" fmla="*/ 392481 h 608067"/>
                <a:gd name="connsiteX8" fmla="*/ 4427 w 572723"/>
                <a:gd name="connsiteY8" fmla="*/ 369418 h 608067"/>
                <a:gd name="connsiteX9" fmla="*/ 10445 w 572723"/>
                <a:gd name="connsiteY9" fmla="*/ 392481 h 608067"/>
                <a:gd name="connsiteX10" fmla="*/ 29501 w 572723"/>
                <a:gd name="connsiteY10" fmla="*/ 445626 h 608067"/>
                <a:gd name="connsiteX11" fmla="*/ 60592 w 572723"/>
                <a:gd name="connsiteY11" fmla="*/ 496765 h 608067"/>
                <a:gd name="connsiteX12" fmla="*/ 156873 w 572723"/>
                <a:gd name="connsiteY12" fmla="*/ 569964 h 608067"/>
                <a:gd name="connsiteX13" fmla="*/ 257167 w 572723"/>
                <a:gd name="connsiteY13" fmla="*/ 601048 h 608067"/>
                <a:gd name="connsiteX14" fmla="*/ 317343 w 572723"/>
                <a:gd name="connsiteY14" fmla="*/ 608067 h 608067"/>
                <a:gd name="connsiteX15" fmla="*/ 364481 w 572723"/>
                <a:gd name="connsiteY15" fmla="*/ 607064 h 608067"/>
                <a:gd name="connsiteX16" fmla="*/ 385543 w 572723"/>
                <a:gd name="connsiteY16" fmla="*/ 604056 h 608067"/>
                <a:gd name="connsiteX17" fmla="*/ 362475 w 572723"/>
                <a:gd name="connsiteY17" fmla="*/ 606062 h 608067"/>
                <a:gd name="connsiteX18" fmla="*/ 438699 w 572723"/>
                <a:gd name="connsiteY18" fmla="*/ 578988 h 608067"/>
                <a:gd name="connsiteX19" fmla="*/ 422652 w 572723"/>
                <a:gd name="connsiteY19" fmla="*/ 580994 h 608067"/>
                <a:gd name="connsiteX20" fmla="*/ 434687 w 572723"/>
                <a:gd name="connsiteY20" fmla="*/ 576983 h 608067"/>
                <a:gd name="connsiteX21" fmla="*/ 476810 w 572723"/>
                <a:gd name="connsiteY21" fmla="*/ 546901 h 608067"/>
                <a:gd name="connsiteX22" fmla="*/ 490852 w 572723"/>
                <a:gd name="connsiteY22" fmla="*/ 537876 h 608067"/>
                <a:gd name="connsiteX23" fmla="*/ 487843 w 572723"/>
                <a:gd name="connsiteY23" fmla="*/ 538879 h 608067"/>
                <a:gd name="connsiteX24" fmla="*/ 521943 w 572723"/>
                <a:gd name="connsiteY24" fmla="*/ 498770 h 608067"/>
                <a:gd name="connsiteX25" fmla="*/ 543004 w 572723"/>
                <a:gd name="connsiteY25" fmla="*/ 454650 h 608067"/>
                <a:gd name="connsiteX26" fmla="*/ 547016 w 572723"/>
                <a:gd name="connsiteY26" fmla="*/ 446628 h 608067"/>
                <a:gd name="connsiteX27" fmla="*/ 553033 w 572723"/>
                <a:gd name="connsiteY27" fmla="*/ 419555 h 608067"/>
                <a:gd name="connsiteX28" fmla="*/ 559051 w 572723"/>
                <a:gd name="connsiteY28" fmla="*/ 411533 h 608067"/>
                <a:gd name="connsiteX29" fmla="*/ 566072 w 572723"/>
                <a:gd name="connsiteY29" fmla="*/ 352372 h 608067"/>
                <a:gd name="connsiteX30" fmla="*/ 571086 w 572723"/>
                <a:gd name="connsiteY30" fmla="*/ 246083 h 608067"/>
                <a:gd name="connsiteX31" fmla="*/ 528963 w 572723"/>
                <a:gd name="connsiteY31" fmla="*/ 144808 h 608067"/>
                <a:gd name="connsiteX32" fmla="*/ 528963 w 572723"/>
                <a:gd name="connsiteY32" fmla="*/ 146813 h 608067"/>
                <a:gd name="connsiteX33" fmla="*/ 469790 w 572723"/>
                <a:gd name="connsiteY33" fmla="*/ 96677 h 608067"/>
                <a:gd name="connsiteX34" fmla="*/ 437696 w 572723"/>
                <a:gd name="connsiteY34" fmla="*/ 83642 h 608067"/>
                <a:gd name="connsiteX35" fmla="*/ 422652 w 572723"/>
                <a:gd name="connsiteY35" fmla="*/ 80633 h 608067"/>
                <a:gd name="connsiteX36" fmla="*/ 412622 w 572723"/>
                <a:gd name="connsiteY36" fmla="*/ 80633 h 608067"/>
                <a:gd name="connsiteX37" fmla="*/ 397578 w 572723"/>
                <a:gd name="connsiteY37" fmla="*/ 77625 h 608067"/>
                <a:gd name="connsiteX38" fmla="*/ 384540 w 572723"/>
                <a:gd name="connsiteY38" fmla="*/ 76623 h 608067"/>
                <a:gd name="connsiteX39" fmla="*/ 372505 w 572723"/>
                <a:gd name="connsiteY39" fmla="*/ 76623 h 608067"/>
                <a:gd name="connsiteX40" fmla="*/ 357461 w 572723"/>
                <a:gd name="connsiteY40" fmla="*/ 77625 h 608067"/>
                <a:gd name="connsiteX41" fmla="*/ 350440 w 572723"/>
                <a:gd name="connsiteY41" fmla="*/ 80633 h 608067"/>
                <a:gd name="connsiteX42" fmla="*/ 347431 w 572723"/>
                <a:gd name="connsiteY42" fmla="*/ 82639 h 608067"/>
                <a:gd name="connsiteX43" fmla="*/ 374511 w 572723"/>
                <a:gd name="connsiteY43" fmla="*/ 85647 h 608067"/>
                <a:gd name="connsiteX44" fmla="*/ 374511 w 572723"/>
                <a:gd name="connsiteY44" fmla="*/ 84644 h 608067"/>
                <a:gd name="connsiteX45" fmla="*/ 451737 w 572723"/>
                <a:gd name="connsiteY45" fmla="*/ 115729 h 608067"/>
                <a:gd name="connsiteX46" fmla="*/ 507901 w 572723"/>
                <a:gd name="connsiteY46" fmla="*/ 175892 h 608067"/>
                <a:gd name="connsiteX47" fmla="*/ 528963 w 572723"/>
                <a:gd name="connsiteY47" fmla="*/ 228034 h 608067"/>
                <a:gd name="connsiteX48" fmla="*/ 531972 w 572723"/>
                <a:gd name="connsiteY48" fmla="*/ 288198 h 608067"/>
                <a:gd name="connsiteX49" fmla="*/ 524951 w 572723"/>
                <a:gd name="connsiteY49" fmla="*/ 357386 h 608067"/>
                <a:gd name="connsiteX50" fmla="*/ 513919 w 572723"/>
                <a:gd name="connsiteY50" fmla="*/ 420557 h 608067"/>
                <a:gd name="connsiteX51" fmla="*/ 503890 w 572723"/>
                <a:gd name="connsiteY51" fmla="*/ 441615 h 608067"/>
                <a:gd name="connsiteX52" fmla="*/ 477813 w 572723"/>
                <a:gd name="connsiteY52" fmla="*/ 489746 h 608067"/>
                <a:gd name="connsiteX53" fmla="*/ 434687 w 572723"/>
                <a:gd name="connsiteY53" fmla="*/ 527849 h 608067"/>
                <a:gd name="connsiteX54" fmla="*/ 436693 w 572723"/>
                <a:gd name="connsiteY54" fmla="*/ 526846 h 608067"/>
                <a:gd name="connsiteX55" fmla="*/ 385543 w 572723"/>
                <a:gd name="connsiteY55" fmla="*/ 545898 h 608067"/>
                <a:gd name="connsiteX56" fmla="*/ 381531 w 572723"/>
                <a:gd name="connsiteY56" fmla="*/ 547904 h 608067"/>
                <a:gd name="connsiteX57" fmla="*/ 361473 w 572723"/>
                <a:gd name="connsiteY57" fmla="*/ 550912 h 608067"/>
                <a:gd name="connsiteX58" fmla="*/ 320352 w 572723"/>
                <a:gd name="connsiteY58" fmla="*/ 556928 h 608067"/>
                <a:gd name="connsiteX59" fmla="*/ 254158 w 572723"/>
                <a:gd name="connsiteY59" fmla="*/ 553920 h 608067"/>
                <a:gd name="connsiteX60" fmla="*/ 247138 w 572723"/>
                <a:gd name="connsiteY60" fmla="*/ 552917 h 608067"/>
                <a:gd name="connsiteX61" fmla="*/ 184956 w 572723"/>
                <a:gd name="connsiteY61" fmla="*/ 529855 h 608067"/>
                <a:gd name="connsiteX62" fmla="*/ 133806 w 572723"/>
                <a:gd name="connsiteY62" fmla="*/ 500776 h 608067"/>
                <a:gd name="connsiteX63" fmla="*/ 112744 w 572723"/>
                <a:gd name="connsiteY63" fmla="*/ 490748 h 608067"/>
                <a:gd name="connsiteX64" fmla="*/ 100709 w 572723"/>
                <a:gd name="connsiteY64" fmla="*/ 480721 h 608067"/>
                <a:gd name="connsiteX65" fmla="*/ 87671 w 572723"/>
                <a:gd name="connsiteY65" fmla="*/ 464677 h 608067"/>
                <a:gd name="connsiteX66" fmla="*/ 64603 w 572723"/>
                <a:gd name="connsiteY66" fmla="*/ 425571 h 608067"/>
                <a:gd name="connsiteX67" fmla="*/ 56580 w 572723"/>
                <a:gd name="connsiteY67" fmla="*/ 407522 h 608067"/>
                <a:gd name="connsiteX68" fmla="*/ 55577 w 572723"/>
                <a:gd name="connsiteY68" fmla="*/ 395489 h 608067"/>
                <a:gd name="connsiteX69" fmla="*/ 51565 w 572723"/>
                <a:gd name="connsiteY69" fmla="*/ 369418 h 608067"/>
                <a:gd name="connsiteX70" fmla="*/ 47553 w 572723"/>
                <a:gd name="connsiteY70" fmla="*/ 347359 h 608067"/>
                <a:gd name="connsiteX71" fmla="*/ 43542 w 572723"/>
                <a:gd name="connsiteY71" fmla="*/ 325299 h 608067"/>
                <a:gd name="connsiteX72" fmla="*/ 43542 w 572723"/>
                <a:gd name="connsiteY72" fmla="*/ 328307 h 608067"/>
                <a:gd name="connsiteX73" fmla="*/ 48556 w 572723"/>
                <a:gd name="connsiteY73" fmla="*/ 280176 h 608067"/>
                <a:gd name="connsiteX74" fmla="*/ 61594 w 572723"/>
                <a:gd name="connsiteY74" fmla="*/ 205974 h 608067"/>
                <a:gd name="connsiteX75" fmla="*/ 89677 w 572723"/>
                <a:gd name="connsiteY75" fmla="*/ 139794 h 608067"/>
                <a:gd name="connsiteX76" fmla="*/ 82656 w 572723"/>
                <a:gd name="connsiteY76" fmla="*/ 147816 h 608067"/>
                <a:gd name="connsiteX77" fmla="*/ 132803 w 572723"/>
                <a:gd name="connsiteY77" fmla="*/ 87653 h 608067"/>
                <a:gd name="connsiteX78" fmla="*/ 143835 w 572723"/>
                <a:gd name="connsiteY78" fmla="*/ 81636 h 608067"/>
                <a:gd name="connsiteX79" fmla="*/ 151859 w 572723"/>
                <a:gd name="connsiteY79" fmla="*/ 74617 h 608067"/>
                <a:gd name="connsiteX80" fmla="*/ 153865 w 572723"/>
                <a:gd name="connsiteY80" fmla="*/ 75620 h 608067"/>
                <a:gd name="connsiteX81" fmla="*/ 171917 w 572723"/>
                <a:gd name="connsiteY81" fmla="*/ 64590 h 608067"/>
                <a:gd name="connsiteX82" fmla="*/ 176932 w 572723"/>
                <a:gd name="connsiteY82" fmla="*/ 60579 h 608067"/>
                <a:gd name="connsiteX83" fmla="*/ 184956 w 572723"/>
                <a:gd name="connsiteY83" fmla="*/ 58573 h 608067"/>
                <a:gd name="connsiteX84" fmla="*/ 184956 w 572723"/>
                <a:gd name="connsiteY84" fmla="*/ 58573 h 608067"/>
                <a:gd name="connsiteX85" fmla="*/ 189970 w 572723"/>
                <a:gd name="connsiteY85" fmla="*/ 56568 h 608067"/>
                <a:gd name="connsiteX86" fmla="*/ 206018 w 572723"/>
                <a:gd name="connsiteY86" fmla="*/ 45538 h 608067"/>
                <a:gd name="connsiteX87" fmla="*/ 223067 w 572723"/>
                <a:gd name="connsiteY87" fmla="*/ 35511 h 608067"/>
                <a:gd name="connsiteX88" fmla="*/ 225073 w 572723"/>
                <a:gd name="connsiteY88" fmla="*/ 35511 h 608067"/>
                <a:gd name="connsiteX89" fmla="*/ 228082 w 572723"/>
                <a:gd name="connsiteY89" fmla="*/ 32503 h 608067"/>
                <a:gd name="connsiteX90" fmla="*/ 234100 w 572723"/>
                <a:gd name="connsiteY90" fmla="*/ 31500 h 608067"/>
                <a:gd name="connsiteX91" fmla="*/ 233097 w 572723"/>
                <a:gd name="connsiteY91" fmla="*/ 31500 h 608067"/>
                <a:gd name="connsiteX92" fmla="*/ 239114 w 572723"/>
                <a:gd name="connsiteY92" fmla="*/ 30497 h 608067"/>
                <a:gd name="connsiteX93" fmla="*/ 240117 w 572723"/>
                <a:gd name="connsiteY93" fmla="*/ 32503 h 608067"/>
                <a:gd name="connsiteX94" fmla="*/ 250147 w 572723"/>
                <a:gd name="connsiteY94" fmla="*/ 30497 h 608067"/>
                <a:gd name="connsiteX95" fmla="*/ 219056 w 572723"/>
                <a:gd name="connsiteY95" fmla="*/ 31500 h 608067"/>
                <a:gd name="connsiteX96" fmla="*/ 234100 w 572723"/>
                <a:gd name="connsiteY96" fmla="*/ 27489 h 608067"/>
                <a:gd name="connsiteX97" fmla="*/ 245132 w 572723"/>
                <a:gd name="connsiteY97" fmla="*/ 27489 h 608067"/>
                <a:gd name="connsiteX98" fmla="*/ 258170 w 572723"/>
                <a:gd name="connsiteY98" fmla="*/ 27489 h 608067"/>
                <a:gd name="connsiteX99" fmla="*/ 265191 w 572723"/>
                <a:gd name="connsiteY99" fmla="*/ 25483 h 608067"/>
                <a:gd name="connsiteX100" fmla="*/ 273214 w 572723"/>
                <a:gd name="connsiteY100" fmla="*/ 26486 h 608067"/>
                <a:gd name="connsiteX101" fmla="*/ 261179 w 572723"/>
                <a:gd name="connsiteY101" fmla="*/ 27489 h 608067"/>
                <a:gd name="connsiteX102" fmla="*/ 266194 w 572723"/>
                <a:gd name="connsiteY102" fmla="*/ 28492 h 608067"/>
                <a:gd name="connsiteX103" fmla="*/ 273214 w 572723"/>
                <a:gd name="connsiteY103" fmla="*/ 28492 h 608067"/>
                <a:gd name="connsiteX104" fmla="*/ 287255 w 572723"/>
                <a:gd name="connsiteY104" fmla="*/ 28492 h 608067"/>
                <a:gd name="connsiteX105" fmla="*/ 293273 w 572723"/>
                <a:gd name="connsiteY105" fmla="*/ 31500 h 608067"/>
                <a:gd name="connsiteX106" fmla="*/ 297285 w 572723"/>
                <a:gd name="connsiteY106" fmla="*/ 30497 h 608067"/>
                <a:gd name="connsiteX107" fmla="*/ 289261 w 572723"/>
                <a:gd name="connsiteY107" fmla="*/ 25483 h 608067"/>
                <a:gd name="connsiteX108" fmla="*/ 300294 w 572723"/>
                <a:gd name="connsiteY108" fmla="*/ 27489 h 608067"/>
                <a:gd name="connsiteX109" fmla="*/ 300294 w 572723"/>
                <a:gd name="connsiteY109" fmla="*/ 25483 h 608067"/>
                <a:gd name="connsiteX110" fmla="*/ 310323 w 572723"/>
                <a:gd name="connsiteY110" fmla="*/ 27489 h 608067"/>
                <a:gd name="connsiteX111" fmla="*/ 307314 w 572723"/>
                <a:gd name="connsiteY111" fmla="*/ 26486 h 608067"/>
                <a:gd name="connsiteX112" fmla="*/ 296282 w 572723"/>
                <a:gd name="connsiteY112" fmla="*/ 28492 h 608067"/>
                <a:gd name="connsiteX113" fmla="*/ 286252 w 572723"/>
                <a:gd name="connsiteY113" fmla="*/ 30497 h 608067"/>
                <a:gd name="connsiteX114" fmla="*/ 299291 w 572723"/>
                <a:gd name="connsiteY114" fmla="*/ 27489 h 608067"/>
                <a:gd name="connsiteX115" fmla="*/ 311326 w 572723"/>
                <a:gd name="connsiteY115" fmla="*/ 26486 h 608067"/>
                <a:gd name="connsiteX116" fmla="*/ 311326 w 572723"/>
                <a:gd name="connsiteY116" fmla="*/ 23478 h 608067"/>
                <a:gd name="connsiteX117" fmla="*/ 307314 w 572723"/>
                <a:gd name="connsiteY117" fmla="*/ 24481 h 608067"/>
                <a:gd name="connsiteX118" fmla="*/ 303302 w 572723"/>
                <a:gd name="connsiteY118" fmla="*/ 20470 h 608067"/>
                <a:gd name="connsiteX119" fmla="*/ 296282 w 572723"/>
                <a:gd name="connsiteY119" fmla="*/ 23478 h 608067"/>
                <a:gd name="connsiteX120" fmla="*/ 288258 w 572723"/>
                <a:gd name="connsiteY120" fmla="*/ 25483 h 608067"/>
                <a:gd name="connsiteX121" fmla="*/ 286252 w 572723"/>
                <a:gd name="connsiteY121" fmla="*/ 24481 h 608067"/>
                <a:gd name="connsiteX122" fmla="*/ 298288 w 572723"/>
                <a:gd name="connsiteY122" fmla="*/ 25483 h 608067"/>
                <a:gd name="connsiteX123" fmla="*/ 305308 w 572723"/>
                <a:gd name="connsiteY123" fmla="*/ 24481 h 608067"/>
                <a:gd name="connsiteX124" fmla="*/ 306311 w 572723"/>
                <a:gd name="connsiteY124" fmla="*/ 24481 h 608067"/>
                <a:gd name="connsiteX125" fmla="*/ 312329 w 572723"/>
                <a:gd name="connsiteY125" fmla="*/ 23478 h 608067"/>
                <a:gd name="connsiteX126" fmla="*/ 310323 w 572723"/>
                <a:gd name="connsiteY126" fmla="*/ 16459 h 608067"/>
                <a:gd name="connsiteX127" fmla="*/ 309320 w 572723"/>
                <a:gd name="connsiteY127" fmla="*/ 9440 h 608067"/>
                <a:gd name="connsiteX128" fmla="*/ 298288 w 572723"/>
                <a:gd name="connsiteY128" fmla="*/ 10443 h 608067"/>
                <a:gd name="connsiteX129" fmla="*/ 288258 w 572723"/>
                <a:gd name="connsiteY129" fmla="*/ 6432 h 608067"/>
                <a:gd name="connsiteX130" fmla="*/ 284246 w 572723"/>
                <a:gd name="connsiteY130" fmla="*/ 7434 h 608067"/>
                <a:gd name="connsiteX131" fmla="*/ 277226 w 572723"/>
                <a:gd name="connsiteY131" fmla="*/ 4426 h 608067"/>
                <a:gd name="connsiteX132" fmla="*/ 266194 w 572723"/>
                <a:gd name="connsiteY132" fmla="*/ 4426 h 608067"/>
                <a:gd name="connsiteX133" fmla="*/ 263185 w 572723"/>
                <a:gd name="connsiteY133" fmla="*/ 6432 h 608067"/>
                <a:gd name="connsiteX134" fmla="*/ 243126 w 572723"/>
                <a:gd name="connsiteY134" fmla="*/ 7434 h 608067"/>
                <a:gd name="connsiteX135" fmla="*/ 239114 w 572723"/>
                <a:gd name="connsiteY135" fmla="*/ 2421 h 608067"/>
                <a:gd name="connsiteX136" fmla="*/ 246135 w 572723"/>
                <a:gd name="connsiteY136" fmla="*/ 4426 h 608067"/>
                <a:gd name="connsiteX137" fmla="*/ 256164 w 572723"/>
                <a:gd name="connsiteY137" fmla="*/ 415 h 608067"/>
                <a:gd name="connsiteX138" fmla="*/ 241120 w 572723"/>
                <a:gd name="connsiteY138" fmla="*/ 1418 h 608067"/>
                <a:gd name="connsiteX139" fmla="*/ 242123 w 572723"/>
                <a:gd name="connsiteY139" fmla="*/ 1418 h 608067"/>
                <a:gd name="connsiteX140" fmla="*/ 222064 w 572723"/>
                <a:gd name="connsiteY140" fmla="*/ 4426 h 608067"/>
                <a:gd name="connsiteX141" fmla="*/ 224070 w 572723"/>
                <a:gd name="connsiteY141" fmla="*/ 1418 h 608067"/>
                <a:gd name="connsiteX142" fmla="*/ 217050 w 572723"/>
                <a:gd name="connsiteY142" fmla="*/ 2421 h 608067"/>
                <a:gd name="connsiteX143" fmla="*/ 217050 w 572723"/>
                <a:gd name="connsiteY143" fmla="*/ 3424 h 608067"/>
                <a:gd name="connsiteX144" fmla="*/ 208023 w 572723"/>
                <a:gd name="connsiteY144" fmla="*/ 5429 h 608067"/>
                <a:gd name="connsiteX145" fmla="*/ 191976 w 572723"/>
                <a:gd name="connsiteY145" fmla="*/ 13451 h 608067"/>
                <a:gd name="connsiteX146" fmla="*/ 177935 w 572723"/>
                <a:gd name="connsiteY146" fmla="*/ 22475 h 608067"/>
                <a:gd name="connsiteX147" fmla="*/ 167906 w 572723"/>
                <a:gd name="connsiteY147" fmla="*/ 26486 h 608067"/>
                <a:gd name="connsiteX148" fmla="*/ 173923 w 572723"/>
                <a:gd name="connsiteY148" fmla="*/ 23478 h 608067"/>
                <a:gd name="connsiteX149" fmla="*/ 186961 w 572723"/>
                <a:gd name="connsiteY149" fmla="*/ 15456 h 608067"/>
                <a:gd name="connsiteX150" fmla="*/ 200000 w 572723"/>
                <a:gd name="connsiteY150" fmla="*/ 8437 h 608067"/>
                <a:gd name="connsiteX151" fmla="*/ 203009 w 572723"/>
                <a:gd name="connsiteY151" fmla="*/ 6432 h 608067"/>
                <a:gd name="connsiteX152" fmla="*/ 192979 w 572723"/>
                <a:gd name="connsiteY152" fmla="*/ 10443 h 608067"/>
                <a:gd name="connsiteX153" fmla="*/ 175929 w 572723"/>
                <a:gd name="connsiteY153" fmla="*/ 19467 h 608067"/>
                <a:gd name="connsiteX154" fmla="*/ 159882 w 572723"/>
                <a:gd name="connsiteY154" fmla="*/ 29494 h 608067"/>
                <a:gd name="connsiteX155" fmla="*/ 151859 w 572723"/>
                <a:gd name="connsiteY155" fmla="*/ 34508 h 608067"/>
                <a:gd name="connsiteX156" fmla="*/ 146844 w 572723"/>
                <a:gd name="connsiteY156" fmla="*/ 39522 h 608067"/>
                <a:gd name="connsiteX157" fmla="*/ 142832 w 572723"/>
                <a:gd name="connsiteY157" fmla="*/ 38519 h 608067"/>
                <a:gd name="connsiteX158" fmla="*/ 141829 w 572723"/>
                <a:gd name="connsiteY158" fmla="*/ 39522 h 608067"/>
                <a:gd name="connsiteX159" fmla="*/ 137818 w 572723"/>
                <a:gd name="connsiteY159" fmla="*/ 40524 h 608067"/>
                <a:gd name="connsiteX160" fmla="*/ 124780 w 572723"/>
                <a:gd name="connsiteY160" fmla="*/ 50552 h 608067"/>
                <a:gd name="connsiteX161" fmla="*/ 112744 w 572723"/>
                <a:gd name="connsiteY161" fmla="*/ 62584 h 608067"/>
                <a:gd name="connsiteX162" fmla="*/ 118762 w 572723"/>
                <a:gd name="connsiteY162" fmla="*/ 50552 h 608067"/>
                <a:gd name="connsiteX163" fmla="*/ 119765 w 572723"/>
                <a:gd name="connsiteY163" fmla="*/ 50552 h 608067"/>
                <a:gd name="connsiteX164" fmla="*/ 122774 w 572723"/>
                <a:gd name="connsiteY164" fmla="*/ 45538 h 608067"/>
                <a:gd name="connsiteX165" fmla="*/ 109736 w 572723"/>
                <a:gd name="connsiteY165" fmla="*/ 57571 h 608067"/>
                <a:gd name="connsiteX166" fmla="*/ 106727 w 572723"/>
                <a:gd name="connsiteY166" fmla="*/ 59576 h 608067"/>
                <a:gd name="connsiteX167" fmla="*/ 106727 w 572723"/>
                <a:gd name="connsiteY167" fmla="*/ 59576 h 608067"/>
                <a:gd name="connsiteX168" fmla="*/ 104721 w 572723"/>
                <a:gd name="connsiteY168" fmla="*/ 59576 h 608067"/>
                <a:gd name="connsiteX169" fmla="*/ 104721 w 572723"/>
                <a:gd name="connsiteY169" fmla="*/ 58573 h 608067"/>
                <a:gd name="connsiteX170" fmla="*/ 93688 w 572723"/>
                <a:gd name="connsiteY170" fmla="*/ 68601 h 608067"/>
                <a:gd name="connsiteX171" fmla="*/ 80650 w 572723"/>
                <a:gd name="connsiteY171" fmla="*/ 84644 h 608067"/>
                <a:gd name="connsiteX172" fmla="*/ 78644 w 572723"/>
                <a:gd name="connsiteY172" fmla="*/ 88655 h 608067"/>
                <a:gd name="connsiteX173" fmla="*/ 58586 w 572723"/>
                <a:gd name="connsiteY173" fmla="*/ 112721 h 608067"/>
                <a:gd name="connsiteX174" fmla="*/ 61594 w 572723"/>
                <a:gd name="connsiteY174" fmla="*/ 113723 h 608067"/>
                <a:gd name="connsiteX175" fmla="*/ 56580 w 572723"/>
                <a:gd name="connsiteY175" fmla="*/ 121745 h 608067"/>
                <a:gd name="connsiteX176" fmla="*/ 51565 w 572723"/>
                <a:gd name="connsiteY176" fmla="*/ 123751 h 608067"/>
                <a:gd name="connsiteX177" fmla="*/ 46550 w 572723"/>
                <a:gd name="connsiteY177" fmla="*/ 124753 h 608067"/>
                <a:gd name="connsiteX178" fmla="*/ 40533 w 572723"/>
                <a:gd name="connsiteY178" fmla="*/ 136786 h 608067"/>
                <a:gd name="connsiteX179" fmla="*/ 39530 w 572723"/>
                <a:gd name="connsiteY179" fmla="*/ 144808 h 608067"/>
                <a:gd name="connsiteX180" fmla="*/ 31506 w 572723"/>
                <a:gd name="connsiteY180" fmla="*/ 156841 h 608067"/>
                <a:gd name="connsiteX181" fmla="*/ 29501 w 572723"/>
                <a:gd name="connsiteY181" fmla="*/ 154835 h 608067"/>
                <a:gd name="connsiteX182" fmla="*/ 19471 w 572723"/>
                <a:gd name="connsiteY182" fmla="*/ 173887 h 608067"/>
                <a:gd name="connsiteX183" fmla="*/ 16462 w 572723"/>
                <a:gd name="connsiteY183" fmla="*/ 194944 h 608067"/>
                <a:gd name="connsiteX184" fmla="*/ 17465 w 572723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0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7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3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1" y="607064"/>
                  </a:cubicBezTo>
                  <a:cubicBezTo>
                    <a:pt x="371502" y="606062"/>
                    <a:pt x="378522" y="606062"/>
                    <a:pt x="385543" y="604056"/>
                  </a:cubicBezTo>
                  <a:cubicBezTo>
                    <a:pt x="373508" y="606062"/>
                    <a:pt x="373508" y="605059"/>
                    <a:pt x="362475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6" y="569964"/>
                    <a:pt x="467784" y="555925"/>
                    <a:pt x="476810" y="546901"/>
                  </a:cubicBezTo>
                  <a:cubicBezTo>
                    <a:pt x="475807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3" y="498770"/>
                  </a:cubicBezTo>
                  <a:cubicBezTo>
                    <a:pt x="530969" y="483729"/>
                    <a:pt x="537989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3" y="419555"/>
                  </a:cubicBezTo>
                  <a:cubicBezTo>
                    <a:pt x="555039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6" y="319282"/>
                    <a:pt x="575098" y="283184"/>
                    <a:pt x="571086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0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8" y="76623"/>
                    <a:pt x="376517" y="76623"/>
                    <a:pt x="372505" y="76623"/>
                  </a:cubicBezTo>
                  <a:cubicBezTo>
                    <a:pt x="368493" y="76623"/>
                    <a:pt x="363478" y="76623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1" y="82639"/>
                  </a:cubicBezTo>
                  <a:cubicBezTo>
                    <a:pt x="361473" y="85647"/>
                    <a:pt x="362475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4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3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8" y="553920"/>
                  </a:cubicBezTo>
                  <a:cubicBezTo>
                    <a:pt x="252152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2" y="462672"/>
                    <a:pt x="84662" y="454650"/>
                    <a:pt x="87671" y="464677"/>
                  </a:cubicBezTo>
                  <a:cubicBezTo>
                    <a:pt x="76638" y="452645"/>
                    <a:pt x="69618" y="438607"/>
                    <a:pt x="64603" y="425571"/>
                  </a:cubicBezTo>
                  <a:cubicBezTo>
                    <a:pt x="61594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9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4" y="205974"/>
                  </a:cubicBezTo>
                  <a:cubicBezTo>
                    <a:pt x="67612" y="181909"/>
                    <a:pt x="77641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3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7" y="64590"/>
                  </a:cubicBezTo>
                  <a:cubicBezTo>
                    <a:pt x="171917" y="63587"/>
                    <a:pt x="173923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1" y="57571"/>
                    <a:pt x="187964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8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6" y="27489"/>
                    <a:pt x="270205" y="25483"/>
                    <a:pt x="273214" y="26486"/>
                  </a:cubicBezTo>
                  <a:cubicBezTo>
                    <a:pt x="269202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2" y="28492"/>
                    <a:pt x="272211" y="28492"/>
                    <a:pt x="273214" y="28492"/>
                  </a:cubicBezTo>
                  <a:cubicBezTo>
                    <a:pt x="274217" y="27489"/>
                    <a:pt x="282240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3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3" y="6432"/>
                    <a:pt x="285249" y="7434"/>
                    <a:pt x="284246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5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3" y="24481"/>
                    <a:pt x="171917" y="23478"/>
                    <a:pt x="167906" y="26486"/>
                  </a:cubicBezTo>
                  <a:cubicBezTo>
                    <a:pt x="167906" y="26486"/>
                    <a:pt x="169912" y="25483"/>
                    <a:pt x="173923" y="23478"/>
                  </a:cubicBezTo>
                  <a:cubicBezTo>
                    <a:pt x="177935" y="21473"/>
                    <a:pt x="181947" y="18464"/>
                    <a:pt x="186961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4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8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4" y="87653"/>
                    <a:pt x="80650" y="85647"/>
                    <a:pt x="78644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4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9471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sp>
        <p:nvSpPr>
          <p:cNvPr id="30" name="Pladsholder til tekst 2">
            <a:extLst>
              <a:ext uri="{FF2B5EF4-FFF2-40B4-BE49-F238E27FC236}">
                <a16:creationId xmlns:a16="http://schemas.microsoft.com/office/drawing/2014/main" id="{C9B57B85-8770-0841-BB19-40B7516950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79800" y="30920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1" name="Pladsholder til tekst 2">
            <a:extLst>
              <a:ext uri="{FF2B5EF4-FFF2-40B4-BE49-F238E27FC236}">
                <a16:creationId xmlns:a16="http://schemas.microsoft.com/office/drawing/2014/main" id="{E73C8752-A2E0-DC45-8EBA-D15AECFCAA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9800" y="39344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2" name="Pladsholder til tekst 2">
            <a:extLst>
              <a:ext uri="{FF2B5EF4-FFF2-40B4-BE49-F238E27FC236}">
                <a16:creationId xmlns:a16="http://schemas.microsoft.com/office/drawing/2014/main" id="{11E4C019-7294-044A-AF7C-F1E2E2E219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9800" y="47768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2893B3F6-3C9F-6B4F-BD6D-9C63D898DF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9800" y="56192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26536862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5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0563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a-DK" sz="3100" b="1" i="0" baseline="0">
              <a:latin typeface="Arial" panose="020B0604020202020204" pitchFamily="34" charset="0"/>
              <a:cs typeface="Open Sans Light" panose="020B060402020202020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1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" name="Rectangle 11"/>
          <p:cNvSpPr/>
          <p:nvPr userDrawn="1"/>
        </p:nvSpPr>
        <p:spPr>
          <a:xfrm>
            <a:off x="0" y="1736726"/>
            <a:ext cx="12192000" cy="4321174"/>
          </a:xfrm>
          <a:prstGeom prst="rect">
            <a:avLst/>
          </a:prstGeom>
          <a:solidFill>
            <a:srgbClr val="E5E5E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85608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KU 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 txBox="1">
            <a:spLocks noGrp="1"/>
          </p:cNvSpPr>
          <p:nvPr>
            <p:ph type="body" idx="4294967295"/>
          </p:nvPr>
        </p:nvSpPr>
        <p:spPr>
          <a:xfrm>
            <a:off x="914400" y="688580"/>
            <a:ext cx="10363196" cy="859846"/>
          </a:xfrm>
        </p:spPr>
        <p:txBody>
          <a:bodyPr/>
          <a:lstStyle>
            <a:lvl1pPr marL="0" indent="0">
              <a:buNone/>
              <a:defRPr sz="3000" b="1"/>
            </a:lvl1pPr>
          </a:lstStyle>
          <a:p>
            <a:pPr lvl="0"/>
            <a:r>
              <a:rPr lang="da-DK"/>
              <a:t>Klik for at redigere i overskrift</a:t>
            </a:r>
          </a:p>
        </p:txBody>
      </p:sp>
      <p:sp>
        <p:nvSpPr>
          <p:cNvPr id="3" name="Title Placeholder 1"/>
          <p:cNvSpPr txBox="1">
            <a:spLocks noGrp="1"/>
          </p:cNvSpPr>
          <p:nvPr>
            <p:ph type="title"/>
          </p:nvPr>
        </p:nvSpPr>
        <p:spPr>
          <a:xfrm>
            <a:off x="914400" y="456286"/>
            <a:ext cx="10363196" cy="211921"/>
          </a:xfrm>
        </p:spPr>
        <p:txBody>
          <a:bodyPr wrap="none" anchorCtr="0"/>
          <a:lstStyle>
            <a:lvl1pPr algn="l">
              <a:defRPr sz="1000" b="0"/>
            </a:lvl1pPr>
          </a:lstStyle>
          <a:p>
            <a:pPr lvl="0"/>
            <a:r>
              <a:rPr lang="da-DK"/>
              <a:t>Klik for at redigere i tracker</a:t>
            </a:r>
          </a:p>
        </p:txBody>
      </p:sp>
      <p:sp>
        <p:nvSpPr>
          <p:cNvPr id="4" name="Pladsholder til slidenummer 3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E530F1A-E148-45AD-9E51-893326BE722B}" type="slidenum">
              <a:t>‹nr.›</a:t>
            </a:fld>
            <a:endParaRPr lang="da-DK"/>
          </a:p>
        </p:txBody>
      </p:sp>
      <p:sp>
        <p:nvSpPr>
          <p:cNvPr id="5" name="Pladsholder til sidefod 2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Sidefod på alle sider</a:t>
            </a:r>
          </a:p>
        </p:txBody>
      </p:sp>
    </p:spTree>
    <p:extLst>
      <p:ext uri="{BB962C8B-B14F-4D97-AF65-F5344CB8AC3E}">
        <p14:creationId xmlns:p14="http://schemas.microsoft.com/office/powerpoint/2010/main" val="3780672271"/>
      </p:ext>
    </p:extLst>
  </p:cSld>
  <p:clrMapOvr>
    <a:masterClrMapping/>
  </p:clrMapOvr>
  <p:hf sldNum="0" hdr="0" ftr="0" dt="0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23" indent="0" algn="ctr">
              <a:buNone/>
              <a:defRPr/>
            </a:lvl2pPr>
            <a:lvl3pPr marL="914446" indent="0" algn="ctr">
              <a:buNone/>
              <a:defRPr/>
            </a:lvl3pPr>
            <a:lvl4pPr marL="1371669" indent="0" algn="ctr">
              <a:buNone/>
              <a:defRPr/>
            </a:lvl4pPr>
            <a:lvl5pPr marL="1828891" indent="0" algn="ctr">
              <a:buNone/>
              <a:defRPr/>
            </a:lvl5pPr>
            <a:lvl6pPr marL="2286114" indent="0" algn="ctr">
              <a:buNone/>
              <a:defRPr/>
            </a:lvl6pPr>
            <a:lvl7pPr marL="2743337" indent="0" algn="ctr">
              <a:buNone/>
              <a:defRPr/>
            </a:lvl7pPr>
            <a:lvl8pPr marL="3200560" indent="0" algn="ctr">
              <a:buNone/>
              <a:defRPr/>
            </a:lvl8pPr>
            <a:lvl9pPr marL="3657783" indent="0" algn="ctr">
              <a:buNone/>
              <a:defRPr/>
            </a:lvl9pPr>
          </a:lstStyle>
          <a:p>
            <a:r>
              <a:rPr lang="da-DK"/>
              <a:t>Klik for at redigere i master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284168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888B9F-7A58-40FC-94C6-DE17AC819CA0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517386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baseret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E1980FE7-9B07-E646-894E-3528B0359370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Tekstbaseret </a:t>
            </a:r>
            <a:br>
              <a:rPr lang="da-DK" sz="11501" b="1">
                <a:solidFill>
                  <a:srgbClr val="FFFFFF"/>
                </a:solidFill>
              </a:rPr>
            </a:br>
            <a:r>
              <a:rPr lang="da-DK" sz="11501" b="1">
                <a:solidFill>
                  <a:srgbClr val="FFFFFF"/>
                </a:solidFill>
              </a:rPr>
              <a:t>indhold</a:t>
            </a:r>
          </a:p>
        </p:txBody>
      </p:sp>
    </p:spTree>
    <p:extLst>
      <p:ext uri="{BB962C8B-B14F-4D97-AF65-F5344CB8AC3E}">
        <p14:creationId xmlns:p14="http://schemas.microsoft.com/office/powerpoint/2010/main" val="24625134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indent="0" algn="l">
              <a:buNone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i overskrif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1036320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B340005-E0B7-A043-B055-7006507B18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25476662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) Indhold - To tekst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227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noProof="0"/>
              <a:t>Klik for at redigere i overskrift</a:t>
            </a:r>
          </a:p>
          <a:p>
            <a:pPr lvl="0"/>
            <a:endParaRPr lang="da-DK" noProof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0D2860C-54D8-6E47-8910-BC092C081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  <p:sp>
        <p:nvSpPr>
          <p:cNvPr id="1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4041422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4" name="Pladsholder til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5288844" y="1731082"/>
            <a:ext cx="4041422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26906506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indent="0" algn="l">
              <a:buNone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i overskrift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D2860C-54D8-6E47-8910-BC092C081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21871606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) Indhold -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gram 4">
            <a:extLst>
              <a:ext uri="{FF2B5EF4-FFF2-40B4-BE49-F238E27FC236}">
                <a16:creationId xmlns:a16="http://schemas.microsoft.com/office/drawing/2014/main" id="{649C4CD9-CD6F-334F-98E9-4820250EF86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t diagram</a:t>
            </a:r>
          </a:p>
        </p:txBody>
      </p:sp>
    </p:spTree>
    <p:extLst>
      <p:ext uri="{BB962C8B-B14F-4D97-AF65-F5344CB8AC3E}">
        <p14:creationId xmlns:p14="http://schemas.microsoft.com/office/powerpoint/2010/main" val="36526991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5) Indhold -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abel 5">
            <a:extLst>
              <a:ext uri="{FF2B5EF4-FFF2-40B4-BE49-F238E27FC236}">
                <a16:creationId xmlns:a16="http://schemas.microsoft.com/office/drawing/2014/main" id="{FAC4DF31-B3FA-AA43-969D-3B3268B15152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18847711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mært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048D68E5-2222-BD40-9A9A-A1FFEB057981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Primært indhold</a:t>
            </a:r>
          </a:p>
        </p:txBody>
      </p:sp>
    </p:spTree>
    <p:extLst>
      <p:ext uri="{BB962C8B-B14F-4D97-AF65-F5344CB8AC3E}">
        <p14:creationId xmlns:p14="http://schemas.microsoft.com/office/powerpoint/2010/main" val="10453108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6) Indhold - 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49996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afs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926263D-15B6-7E46-9D7B-3581BB98A802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Nyt afsnit</a:t>
            </a:r>
          </a:p>
        </p:txBody>
      </p:sp>
    </p:spTree>
    <p:extLst>
      <p:ext uri="{BB962C8B-B14F-4D97-AF65-F5344CB8AC3E}">
        <p14:creationId xmlns:p14="http://schemas.microsoft.com/office/powerpoint/2010/main" val="21812906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0) Nyt afsnit - Mellemslide (indsæt 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DB6CCC3-4B79-A846-8F97-C3D0B9F9CE3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80" y="0"/>
            <a:ext cx="12193879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18 w 12192018"/>
              <a:gd name="connsiteY0" fmla="*/ 0 h 6858000"/>
              <a:gd name="connsiteX1" fmla="*/ 12192018 w 12192018"/>
              <a:gd name="connsiteY1" fmla="*/ 0 h 6858000"/>
              <a:gd name="connsiteX2" fmla="*/ 12192018 w 12192018"/>
              <a:gd name="connsiteY2" fmla="*/ 6858000 h 6858000"/>
              <a:gd name="connsiteX3" fmla="*/ 18 w 12192018"/>
              <a:gd name="connsiteY3" fmla="*/ 6858000 h 6858000"/>
              <a:gd name="connsiteX4" fmla="*/ 2377458 w 12192018"/>
              <a:gd name="connsiteY4" fmla="*/ 2971800 h 6858000"/>
              <a:gd name="connsiteX5" fmla="*/ 18 w 12192018"/>
              <a:gd name="connsiteY5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3115657 w 12930217"/>
              <a:gd name="connsiteY5" fmla="*/ 2971800 h 6858000"/>
              <a:gd name="connsiteX6" fmla="*/ 738217 w 12930217"/>
              <a:gd name="connsiteY6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3115657 w 12930217"/>
              <a:gd name="connsiteY6" fmla="*/ 2971800 h 6858000"/>
              <a:gd name="connsiteX7" fmla="*/ 738217 w 12930217"/>
              <a:gd name="connsiteY7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849833 w 13041833"/>
              <a:gd name="connsiteY0" fmla="*/ 0 h 6858000"/>
              <a:gd name="connsiteX1" fmla="*/ 13041833 w 13041833"/>
              <a:gd name="connsiteY1" fmla="*/ 0 h 6858000"/>
              <a:gd name="connsiteX2" fmla="*/ 13041833 w 13041833"/>
              <a:gd name="connsiteY2" fmla="*/ 6858000 h 6858000"/>
              <a:gd name="connsiteX3" fmla="*/ 849833 w 13041833"/>
              <a:gd name="connsiteY3" fmla="*/ 6858000 h 6858000"/>
              <a:gd name="connsiteX4" fmla="*/ 1307033 w 13041833"/>
              <a:gd name="connsiteY4" fmla="*/ 5829300 h 6858000"/>
              <a:gd name="connsiteX5" fmla="*/ 7067754 w 13041833"/>
              <a:gd name="connsiteY5" fmla="*/ 5772150 h 6858000"/>
              <a:gd name="connsiteX6" fmla="*/ 8096454 w 13041833"/>
              <a:gd name="connsiteY6" fmla="*/ 3086100 h 6858000"/>
              <a:gd name="connsiteX7" fmla="*/ 861263 w 13041833"/>
              <a:gd name="connsiteY7" fmla="*/ 3086100 h 6858000"/>
              <a:gd name="connsiteX8" fmla="*/ 849833 w 13041833"/>
              <a:gd name="connsiteY8" fmla="*/ 0 h 6858000"/>
              <a:gd name="connsiteX0" fmla="*/ 796095 w 12988095"/>
              <a:gd name="connsiteY0" fmla="*/ 0 h 6858000"/>
              <a:gd name="connsiteX1" fmla="*/ 12988095 w 12988095"/>
              <a:gd name="connsiteY1" fmla="*/ 0 h 6858000"/>
              <a:gd name="connsiteX2" fmla="*/ 12988095 w 12988095"/>
              <a:gd name="connsiteY2" fmla="*/ 6858000 h 6858000"/>
              <a:gd name="connsiteX3" fmla="*/ 796095 w 12988095"/>
              <a:gd name="connsiteY3" fmla="*/ 6858000 h 6858000"/>
              <a:gd name="connsiteX4" fmla="*/ 1253295 w 12988095"/>
              <a:gd name="connsiteY4" fmla="*/ 5829300 h 6858000"/>
              <a:gd name="connsiteX5" fmla="*/ 7014016 w 12988095"/>
              <a:gd name="connsiteY5" fmla="*/ 5772150 h 6858000"/>
              <a:gd name="connsiteX6" fmla="*/ 8042716 w 12988095"/>
              <a:gd name="connsiteY6" fmla="*/ 3086100 h 6858000"/>
              <a:gd name="connsiteX7" fmla="*/ 807525 w 12988095"/>
              <a:gd name="connsiteY7" fmla="*/ 3086100 h 6858000"/>
              <a:gd name="connsiteX8" fmla="*/ 796095 w 12988095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457200 w 12192000"/>
              <a:gd name="connsiteY4" fmla="*/ 582930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45732 w 12237732"/>
              <a:gd name="connsiteY0" fmla="*/ 0 h 6858000"/>
              <a:gd name="connsiteX1" fmla="*/ 12237732 w 12237732"/>
              <a:gd name="connsiteY1" fmla="*/ 0 h 6858000"/>
              <a:gd name="connsiteX2" fmla="*/ 12237732 w 12237732"/>
              <a:gd name="connsiteY2" fmla="*/ 6858000 h 6858000"/>
              <a:gd name="connsiteX3" fmla="*/ 45732 w 12237732"/>
              <a:gd name="connsiteY3" fmla="*/ 6858000 h 6858000"/>
              <a:gd name="connsiteX4" fmla="*/ 57162 w 12237732"/>
              <a:gd name="connsiteY4" fmla="*/ 5806440 h 6858000"/>
              <a:gd name="connsiteX5" fmla="*/ 6263653 w 12237732"/>
              <a:gd name="connsiteY5" fmla="*/ 5772150 h 6858000"/>
              <a:gd name="connsiteX6" fmla="*/ 7292353 w 12237732"/>
              <a:gd name="connsiteY6" fmla="*/ 3086100 h 6858000"/>
              <a:gd name="connsiteX7" fmla="*/ 57162 w 12237732"/>
              <a:gd name="connsiteY7" fmla="*/ 3086100 h 6858000"/>
              <a:gd name="connsiteX8" fmla="*/ 45732 w 12237732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12700 w 12193270"/>
              <a:gd name="connsiteY4" fmla="*/ 580644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6350 w 12193270"/>
              <a:gd name="connsiteY4" fmla="*/ 582549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1914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3879" h="6858000">
                <a:moveTo>
                  <a:pt x="1879" y="0"/>
                </a:moveTo>
                <a:lnTo>
                  <a:pt x="12193879" y="0"/>
                </a:lnTo>
                <a:lnTo>
                  <a:pt x="12193879" y="6858000"/>
                </a:lnTo>
                <a:lnTo>
                  <a:pt x="1879" y="6858000"/>
                </a:lnTo>
                <a:cubicBezTo>
                  <a:pt x="2514" y="6059805"/>
                  <a:pt x="-3836" y="6492875"/>
                  <a:pt x="3784" y="5822315"/>
                </a:cubicBezTo>
                <a:lnTo>
                  <a:pt x="7247865" y="5819140"/>
                </a:lnTo>
                <a:cubicBezTo>
                  <a:pt x="7250405" y="4772660"/>
                  <a:pt x="7247230" y="4008755"/>
                  <a:pt x="7251675" y="3089275"/>
                </a:cubicBezTo>
                <a:lnTo>
                  <a:pt x="609" y="3092450"/>
                </a:lnTo>
                <a:cubicBezTo>
                  <a:pt x="1032" y="2061633"/>
                  <a:pt x="1456" y="1030817"/>
                  <a:pt x="1879" y="0"/>
                </a:cubicBezTo>
                <a:close/>
              </a:path>
            </a:pathLst>
          </a:custGeom>
          <a:noFill/>
          <a:effectLst/>
        </p:spPr>
        <p:txBody>
          <a:bodyPr tIns="1692000"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800" b="0" baseline="0">
                <a:latin typeface="+mj-lt"/>
              </a:defRPr>
            </a:lvl1pPr>
          </a:lstStyle>
          <a:p>
            <a:r>
              <a:rPr lang="en-US" err="1"/>
              <a:t>Indsæt</a:t>
            </a:r>
            <a:r>
              <a:rPr lang="en-US"/>
              <a:t> </a:t>
            </a:r>
            <a:r>
              <a:rPr lang="en-US" err="1"/>
              <a:t>billiede</a:t>
            </a:r>
            <a:r>
              <a:rPr lang="en-US"/>
              <a:t>, </a:t>
            </a:r>
            <a:r>
              <a:rPr lang="en-US" err="1"/>
              <a:t>klik</a:t>
            </a:r>
            <a:r>
              <a:rPr lang="en-US"/>
              <a:t> her</a:t>
            </a:r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8A69F2F3-767B-1543-9BB3-36075B3B8957}"/>
              </a:ext>
            </a:extLst>
          </p:cNvPr>
          <p:cNvGrpSpPr/>
          <p:nvPr userDrawn="1"/>
        </p:nvGrpSpPr>
        <p:grpSpPr>
          <a:xfrm rot="17162911" flipH="1">
            <a:off x="6421968" y="2335518"/>
            <a:ext cx="837630" cy="491500"/>
            <a:chOff x="3807407" y="1614978"/>
            <a:chExt cx="750355" cy="334433"/>
          </a:xfrm>
        </p:grpSpPr>
        <p:sp>
          <p:nvSpPr>
            <p:cNvPr id="10" name="Kombinationstegning 9">
              <a:extLst>
                <a:ext uri="{FF2B5EF4-FFF2-40B4-BE49-F238E27FC236}">
                  <a16:creationId xmlns:a16="http://schemas.microsoft.com/office/drawing/2014/main" id="{261AFC55-9A17-4A4E-B03C-2D2432500C23}"/>
                </a:ext>
              </a:extLst>
            </p:cNvPr>
            <p:cNvSpPr/>
            <p:nvPr/>
          </p:nvSpPr>
          <p:spPr>
            <a:xfrm>
              <a:off x="3807407" y="1651138"/>
              <a:ext cx="674427" cy="298273"/>
            </a:xfrm>
            <a:custGeom>
              <a:avLst/>
              <a:gdLst>
                <a:gd name="connsiteX0" fmla="*/ 161131 w 674427"/>
                <a:gd name="connsiteY0" fmla="*/ 238844 h 298273"/>
                <a:gd name="connsiteX1" fmla="*/ 163986 w 674427"/>
                <a:gd name="connsiteY1" fmla="*/ 237892 h 298273"/>
                <a:gd name="connsiteX2" fmla="*/ 136381 w 674427"/>
                <a:gd name="connsiteY2" fmla="*/ 250263 h 298273"/>
                <a:gd name="connsiteX3" fmla="*/ 194447 w 674427"/>
                <a:gd name="connsiteY3" fmla="*/ 220764 h 298273"/>
                <a:gd name="connsiteX4" fmla="*/ 218245 w 674427"/>
                <a:gd name="connsiteY4" fmla="*/ 216006 h 298273"/>
                <a:gd name="connsiteX5" fmla="*/ 229667 w 674427"/>
                <a:gd name="connsiteY5" fmla="*/ 208394 h 298273"/>
                <a:gd name="connsiteX6" fmla="*/ 222052 w 674427"/>
                <a:gd name="connsiteY6" fmla="*/ 213152 h 298273"/>
                <a:gd name="connsiteX7" fmla="*/ 229667 w 674427"/>
                <a:gd name="connsiteY7" fmla="*/ 208394 h 298273"/>
                <a:gd name="connsiteX8" fmla="*/ 313435 w 674427"/>
                <a:gd name="connsiteY8" fmla="*/ 169379 h 298273"/>
                <a:gd name="connsiteX9" fmla="*/ 392442 w 674427"/>
                <a:gd name="connsiteY9" fmla="*/ 137978 h 298273"/>
                <a:gd name="connsiteX10" fmla="*/ 400057 w 674427"/>
                <a:gd name="connsiteY10" fmla="*/ 135123 h 298273"/>
                <a:gd name="connsiteX11" fmla="*/ 391490 w 674427"/>
                <a:gd name="connsiteY11" fmla="*/ 137978 h 298273"/>
                <a:gd name="connsiteX12" fmla="*/ 418144 w 674427"/>
                <a:gd name="connsiteY12" fmla="*/ 121801 h 298273"/>
                <a:gd name="connsiteX13" fmla="*/ 411480 w 674427"/>
                <a:gd name="connsiteY13" fmla="*/ 121801 h 298273"/>
                <a:gd name="connsiteX14" fmla="*/ 416240 w 674427"/>
                <a:gd name="connsiteY14" fmla="*/ 119898 h 298273"/>
                <a:gd name="connsiteX15" fmla="*/ 433374 w 674427"/>
                <a:gd name="connsiteY15" fmla="*/ 109430 h 298273"/>
                <a:gd name="connsiteX16" fmla="*/ 440037 w 674427"/>
                <a:gd name="connsiteY16" fmla="*/ 108479 h 298273"/>
                <a:gd name="connsiteX17" fmla="*/ 438133 w 674427"/>
                <a:gd name="connsiteY17" fmla="*/ 108479 h 298273"/>
                <a:gd name="connsiteX18" fmla="*/ 474306 w 674427"/>
                <a:gd name="connsiteY18" fmla="*/ 92302 h 298273"/>
                <a:gd name="connsiteX19" fmla="*/ 478113 w 674427"/>
                <a:gd name="connsiteY19" fmla="*/ 91351 h 298273"/>
                <a:gd name="connsiteX20" fmla="*/ 488584 w 674427"/>
                <a:gd name="connsiteY20" fmla="*/ 86593 h 298273"/>
                <a:gd name="connsiteX21" fmla="*/ 493344 w 674427"/>
                <a:gd name="connsiteY21" fmla="*/ 87544 h 298273"/>
                <a:gd name="connsiteX22" fmla="*/ 515237 w 674427"/>
                <a:gd name="connsiteY22" fmla="*/ 76126 h 298273"/>
                <a:gd name="connsiteX23" fmla="*/ 555217 w 674427"/>
                <a:gd name="connsiteY23" fmla="*/ 58997 h 298273"/>
                <a:gd name="connsiteX24" fmla="*/ 596149 w 674427"/>
                <a:gd name="connsiteY24" fmla="*/ 40917 h 298273"/>
                <a:gd name="connsiteX25" fmla="*/ 595197 w 674427"/>
                <a:gd name="connsiteY25" fmla="*/ 40917 h 298273"/>
                <a:gd name="connsiteX26" fmla="*/ 624706 w 674427"/>
                <a:gd name="connsiteY26" fmla="*/ 27596 h 298273"/>
                <a:gd name="connsiteX27" fmla="*/ 646599 w 674427"/>
                <a:gd name="connsiteY27" fmla="*/ 14274 h 298273"/>
                <a:gd name="connsiteX28" fmla="*/ 669445 w 674427"/>
                <a:gd name="connsiteY28" fmla="*/ 4758 h 298273"/>
                <a:gd name="connsiteX29" fmla="*/ 673253 w 674427"/>
                <a:gd name="connsiteY29" fmla="*/ 0 h 298273"/>
                <a:gd name="connsiteX30" fmla="*/ 659926 w 674427"/>
                <a:gd name="connsiteY30" fmla="*/ 1903 h 298273"/>
                <a:gd name="connsiteX31" fmla="*/ 659926 w 674427"/>
                <a:gd name="connsiteY31" fmla="*/ 1903 h 298273"/>
                <a:gd name="connsiteX32" fmla="*/ 581870 w 674427"/>
                <a:gd name="connsiteY32" fmla="*/ 23789 h 298273"/>
                <a:gd name="connsiteX33" fmla="*/ 528564 w 674427"/>
                <a:gd name="connsiteY33" fmla="*/ 44724 h 298273"/>
                <a:gd name="connsiteX34" fmla="*/ 474306 w 674427"/>
                <a:gd name="connsiteY34" fmla="*/ 69465 h 298273"/>
                <a:gd name="connsiteX35" fmla="*/ 463835 w 674427"/>
                <a:gd name="connsiteY35" fmla="*/ 72319 h 298273"/>
                <a:gd name="connsiteX36" fmla="*/ 414336 w 674427"/>
                <a:gd name="connsiteY36" fmla="*/ 94205 h 298273"/>
                <a:gd name="connsiteX37" fmla="*/ 415288 w 674427"/>
                <a:gd name="connsiteY37" fmla="*/ 94205 h 298273"/>
                <a:gd name="connsiteX38" fmla="*/ 390538 w 674427"/>
                <a:gd name="connsiteY38" fmla="*/ 103721 h 298273"/>
                <a:gd name="connsiteX39" fmla="*/ 388635 w 674427"/>
                <a:gd name="connsiteY39" fmla="*/ 105624 h 298273"/>
                <a:gd name="connsiteX40" fmla="*/ 336280 w 674427"/>
                <a:gd name="connsiteY40" fmla="*/ 132268 h 298273"/>
                <a:gd name="connsiteX41" fmla="*/ 333424 w 674427"/>
                <a:gd name="connsiteY41" fmla="*/ 134171 h 298273"/>
                <a:gd name="connsiteX42" fmla="*/ 280118 w 674427"/>
                <a:gd name="connsiteY42" fmla="*/ 154154 h 298273"/>
                <a:gd name="connsiteX43" fmla="*/ 271551 w 674427"/>
                <a:gd name="connsiteY43" fmla="*/ 161767 h 298273"/>
                <a:gd name="connsiteX44" fmla="*/ 264888 w 674427"/>
                <a:gd name="connsiteY44" fmla="*/ 165573 h 298273"/>
                <a:gd name="connsiteX45" fmla="*/ 255369 w 674427"/>
                <a:gd name="connsiteY45" fmla="*/ 169379 h 298273"/>
                <a:gd name="connsiteX46" fmla="*/ 235379 w 674427"/>
                <a:gd name="connsiteY46" fmla="*/ 178895 h 298273"/>
                <a:gd name="connsiteX47" fmla="*/ 227764 w 674427"/>
                <a:gd name="connsiteY47" fmla="*/ 183653 h 298273"/>
                <a:gd name="connsiteX48" fmla="*/ 222052 w 674427"/>
                <a:gd name="connsiteY48" fmla="*/ 184604 h 298273"/>
                <a:gd name="connsiteX49" fmla="*/ 210629 w 674427"/>
                <a:gd name="connsiteY49" fmla="*/ 189362 h 298273"/>
                <a:gd name="connsiteX50" fmla="*/ 193495 w 674427"/>
                <a:gd name="connsiteY50" fmla="*/ 199829 h 298273"/>
                <a:gd name="connsiteX51" fmla="*/ 194447 w 674427"/>
                <a:gd name="connsiteY51" fmla="*/ 198878 h 298273"/>
                <a:gd name="connsiteX52" fmla="*/ 173505 w 674427"/>
                <a:gd name="connsiteY52" fmla="*/ 205539 h 298273"/>
                <a:gd name="connsiteX53" fmla="*/ 112584 w 674427"/>
                <a:gd name="connsiteY53" fmla="*/ 235038 h 298273"/>
                <a:gd name="connsiteX54" fmla="*/ 117343 w 674427"/>
                <a:gd name="connsiteY54" fmla="*/ 234086 h 298273"/>
                <a:gd name="connsiteX55" fmla="*/ 83075 w 674427"/>
                <a:gd name="connsiteY55" fmla="*/ 248360 h 298273"/>
                <a:gd name="connsiteX56" fmla="*/ 77363 w 674427"/>
                <a:gd name="connsiteY56" fmla="*/ 249311 h 298273"/>
                <a:gd name="connsiteX57" fmla="*/ 72604 w 674427"/>
                <a:gd name="connsiteY57" fmla="*/ 252166 h 298273"/>
                <a:gd name="connsiteX58" fmla="*/ 71652 w 674427"/>
                <a:gd name="connsiteY58" fmla="*/ 251214 h 298273"/>
                <a:gd name="connsiteX59" fmla="*/ 62133 w 674427"/>
                <a:gd name="connsiteY59" fmla="*/ 255021 h 298273"/>
                <a:gd name="connsiteX60" fmla="*/ 59277 w 674427"/>
                <a:gd name="connsiteY60" fmla="*/ 256924 h 298273"/>
                <a:gd name="connsiteX61" fmla="*/ 55470 w 674427"/>
                <a:gd name="connsiteY61" fmla="*/ 257875 h 298273"/>
                <a:gd name="connsiteX62" fmla="*/ 55470 w 674427"/>
                <a:gd name="connsiteY62" fmla="*/ 257875 h 298273"/>
                <a:gd name="connsiteX63" fmla="*/ 53566 w 674427"/>
                <a:gd name="connsiteY63" fmla="*/ 258827 h 298273"/>
                <a:gd name="connsiteX64" fmla="*/ 39287 w 674427"/>
                <a:gd name="connsiteY64" fmla="*/ 271197 h 298273"/>
                <a:gd name="connsiteX65" fmla="*/ 38335 w 674427"/>
                <a:gd name="connsiteY65" fmla="*/ 271197 h 298273"/>
                <a:gd name="connsiteX66" fmla="*/ 37384 w 674427"/>
                <a:gd name="connsiteY66" fmla="*/ 273100 h 298273"/>
                <a:gd name="connsiteX67" fmla="*/ 34528 w 674427"/>
                <a:gd name="connsiteY67" fmla="*/ 274052 h 298273"/>
                <a:gd name="connsiteX68" fmla="*/ 34528 w 674427"/>
                <a:gd name="connsiteY68" fmla="*/ 274052 h 298273"/>
                <a:gd name="connsiteX69" fmla="*/ 31672 w 674427"/>
                <a:gd name="connsiteY69" fmla="*/ 275004 h 298273"/>
                <a:gd name="connsiteX70" fmla="*/ 30720 w 674427"/>
                <a:gd name="connsiteY70" fmla="*/ 274052 h 298273"/>
                <a:gd name="connsiteX71" fmla="*/ 26913 w 674427"/>
                <a:gd name="connsiteY71" fmla="*/ 276907 h 298273"/>
                <a:gd name="connsiteX72" fmla="*/ 41191 w 674427"/>
                <a:gd name="connsiteY72" fmla="*/ 274052 h 298273"/>
                <a:gd name="connsiteX73" fmla="*/ 34528 w 674427"/>
                <a:gd name="connsiteY73" fmla="*/ 276907 h 298273"/>
                <a:gd name="connsiteX74" fmla="*/ 23105 w 674427"/>
                <a:gd name="connsiteY74" fmla="*/ 279761 h 298273"/>
                <a:gd name="connsiteX75" fmla="*/ 20249 w 674427"/>
                <a:gd name="connsiteY75" fmla="*/ 281664 h 298273"/>
                <a:gd name="connsiteX76" fmla="*/ 16442 w 674427"/>
                <a:gd name="connsiteY76" fmla="*/ 282616 h 298273"/>
                <a:gd name="connsiteX77" fmla="*/ 21201 w 674427"/>
                <a:gd name="connsiteY77" fmla="*/ 279761 h 298273"/>
                <a:gd name="connsiteX78" fmla="*/ 15490 w 674427"/>
                <a:gd name="connsiteY78" fmla="*/ 281664 h 298273"/>
                <a:gd name="connsiteX79" fmla="*/ 9778 w 674427"/>
                <a:gd name="connsiteY79" fmla="*/ 284519 h 298273"/>
                <a:gd name="connsiteX80" fmla="*/ 5971 w 674427"/>
                <a:gd name="connsiteY80" fmla="*/ 284519 h 298273"/>
                <a:gd name="connsiteX81" fmla="*/ 5019 w 674427"/>
                <a:gd name="connsiteY81" fmla="*/ 286422 h 298273"/>
                <a:gd name="connsiteX82" fmla="*/ 9778 w 674427"/>
                <a:gd name="connsiteY82" fmla="*/ 286422 h 298273"/>
                <a:gd name="connsiteX83" fmla="*/ 5019 w 674427"/>
                <a:gd name="connsiteY83" fmla="*/ 288325 h 298273"/>
                <a:gd name="connsiteX84" fmla="*/ 5971 w 674427"/>
                <a:gd name="connsiteY84" fmla="*/ 289277 h 298273"/>
                <a:gd name="connsiteX85" fmla="*/ 1211 w 674427"/>
                <a:gd name="connsiteY85" fmla="*/ 291180 h 298273"/>
                <a:gd name="connsiteX86" fmla="*/ 2163 w 674427"/>
                <a:gd name="connsiteY86" fmla="*/ 290229 h 298273"/>
                <a:gd name="connsiteX87" fmla="*/ 8827 w 674427"/>
                <a:gd name="connsiteY87" fmla="*/ 281664 h 298273"/>
                <a:gd name="connsiteX88" fmla="*/ 259 w 674427"/>
                <a:gd name="connsiteY88" fmla="*/ 291180 h 298273"/>
                <a:gd name="connsiteX89" fmla="*/ 1211 w 674427"/>
                <a:gd name="connsiteY89" fmla="*/ 292132 h 298273"/>
                <a:gd name="connsiteX90" fmla="*/ 2163 w 674427"/>
                <a:gd name="connsiteY90" fmla="*/ 290229 h 298273"/>
                <a:gd name="connsiteX91" fmla="*/ 5019 w 674427"/>
                <a:gd name="connsiteY91" fmla="*/ 291180 h 298273"/>
                <a:gd name="connsiteX92" fmla="*/ 8827 w 674427"/>
                <a:gd name="connsiteY92" fmla="*/ 284519 h 298273"/>
                <a:gd name="connsiteX93" fmla="*/ 9778 w 674427"/>
                <a:gd name="connsiteY93" fmla="*/ 284519 h 298273"/>
                <a:gd name="connsiteX94" fmla="*/ 5019 w 674427"/>
                <a:gd name="connsiteY94" fmla="*/ 287374 h 298273"/>
                <a:gd name="connsiteX95" fmla="*/ 3115 w 674427"/>
                <a:gd name="connsiteY95" fmla="*/ 290229 h 298273"/>
                <a:gd name="connsiteX96" fmla="*/ 2163 w 674427"/>
                <a:gd name="connsiteY96" fmla="*/ 290229 h 298273"/>
                <a:gd name="connsiteX97" fmla="*/ 259 w 674427"/>
                <a:gd name="connsiteY97" fmla="*/ 292132 h 298273"/>
                <a:gd name="connsiteX98" fmla="*/ 5971 w 674427"/>
                <a:gd name="connsiteY98" fmla="*/ 297841 h 298273"/>
                <a:gd name="connsiteX99" fmla="*/ 9778 w 674427"/>
                <a:gd name="connsiteY99" fmla="*/ 294035 h 298273"/>
                <a:gd name="connsiteX100" fmla="*/ 14538 w 674427"/>
                <a:gd name="connsiteY100" fmla="*/ 294035 h 298273"/>
                <a:gd name="connsiteX101" fmla="*/ 15490 w 674427"/>
                <a:gd name="connsiteY101" fmla="*/ 292132 h 298273"/>
                <a:gd name="connsiteX102" fmla="*/ 19297 w 674427"/>
                <a:gd name="connsiteY102" fmla="*/ 292132 h 298273"/>
                <a:gd name="connsiteX103" fmla="*/ 24057 w 674427"/>
                <a:gd name="connsiteY103" fmla="*/ 290229 h 298273"/>
                <a:gd name="connsiteX104" fmla="*/ 25009 w 674427"/>
                <a:gd name="connsiteY104" fmla="*/ 289277 h 298273"/>
                <a:gd name="connsiteX105" fmla="*/ 32624 w 674427"/>
                <a:gd name="connsiteY105" fmla="*/ 285471 h 298273"/>
                <a:gd name="connsiteX106" fmla="*/ 35480 w 674427"/>
                <a:gd name="connsiteY106" fmla="*/ 288325 h 298273"/>
                <a:gd name="connsiteX107" fmla="*/ 32624 w 674427"/>
                <a:gd name="connsiteY107" fmla="*/ 288325 h 298273"/>
                <a:gd name="connsiteX108" fmla="*/ 29768 w 674427"/>
                <a:gd name="connsiteY108" fmla="*/ 292132 h 298273"/>
                <a:gd name="connsiteX109" fmla="*/ 35480 w 674427"/>
                <a:gd name="connsiteY109" fmla="*/ 290229 h 298273"/>
                <a:gd name="connsiteX110" fmla="*/ 34528 w 674427"/>
                <a:gd name="connsiteY110" fmla="*/ 290229 h 298273"/>
                <a:gd name="connsiteX111" fmla="*/ 42143 w 674427"/>
                <a:gd name="connsiteY111" fmla="*/ 286422 h 298273"/>
                <a:gd name="connsiteX112" fmla="*/ 42143 w 674427"/>
                <a:gd name="connsiteY112" fmla="*/ 288325 h 298273"/>
                <a:gd name="connsiteX113" fmla="*/ 44999 w 674427"/>
                <a:gd name="connsiteY113" fmla="*/ 287374 h 298273"/>
                <a:gd name="connsiteX114" fmla="*/ 44999 w 674427"/>
                <a:gd name="connsiteY114" fmla="*/ 287374 h 298273"/>
                <a:gd name="connsiteX115" fmla="*/ 48806 w 674427"/>
                <a:gd name="connsiteY115" fmla="*/ 285471 h 298273"/>
                <a:gd name="connsiteX116" fmla="*/ 61181 w 674427"/>
                <a:gd name="connsiteY116" fmla="*/ 276907 h 298273"/>
                <a:gd name="connsiteX117" fmla="*/ 64989 w 674427"/>
                <a:gd name="connsiteY117" fmla="*/ 275004 h 298273"/>
                <a:gd name="connsiteX118" fmla="*/ 50710 w 674427"/>
                <a:gd name="connsiteY118" fmla="*/ 284519 h 298273"/>
                <a:gd name="connsiteX119" fmla="*/ 71652 w 674427"/>
                <a:gd name="connsiteY119" fmla="*/ 272149 h 298273"/>
                <a:gd name="connsiteX120" fmla="*/ 73556 w 674427"/>
                <a:gd name="connsiteY120" fmla="*/ 270246 h 298273"/>
                <a:gd name="connsiteX121" fmla="*/ 75460 w 674427"/>
                <a:gd name="connsiteY121" fmla="*/ 271197 h 298273"/>
                <a:gd name="connsiteX122" fmla="*/ 75460 w 674427"/>
                <a:gd name="connsiteY122" fmla="*/ 271197 h 298273"/>
                <a:gd name="connsiteX123" fmla="*/ 77363 w 674427"/>
                <a:gd name="connsiteY123" fmla="*/ 271197 h 298273"/>
                <a:gd name="connsiteX124" fmla="*/ 89738 w 674427"/>
                <a:gd name="connsiteY124" fmla="*/ 264536 h 298273"/>
                <a:gd name="connsiteX125" fmla="*/ 85930 w 674427"/>
                <a:gd name="connsiteY125" fmla="*/ 269294 h 298273"/>
                <a:gd name="connsiteX126" fmla="*/ 84979 w 674427"/>
                <a:gd name="connsiteY126" fmla="*/ 269294 h 298273"/>
                <a:gd name="connsiteX127" fmla="*/ 83075 w 674427"/>
                <a:gd name="connsiteY127" fmla="*/ 271197 h 298273"/>
                <a:gd name="connsiteX128" fmla="*/ 89738 w 674427"/>
                <a:gd name="connsiteY128" fmla="*/ 267391 h 298273"/>
                <a:gd name="connsiteX129" fmla="*/ 91642 w 674427"/>
                <a:gd name="connsiteY129" fmla="*/ 267391 h 298273"/>
                <a:gd name="connsiteX130" fmla="*/ 91642 w 674427"/>
                <a:gd name="connsiteY130" fmla="*/ 267391 h 298273"/>
                <a:gd name="connsiteX131" fmla="*/ 92594 w 674427"/>
                <a:gd name="connsiteY131" fmla="*/ 268343 h 298273"/>
                <a:gd name="connsiteX132" fmla="*/ 92594 w 674427"/>
                <a:gd name="connsiteY132" fmla="*/ 268343 h 298273"/>
                <a:gd name="connsiteX133" fmla="*/ 105920 w 674427"/>
                <a:gd name="connsiteY133" fmla="*/ 261681 h 298273"/>
                <a:gd name="connsiteX134" fmla="*/ 106872 w 674427"/>
                <a:gd name="connsiteY134" fmla="*/ 259778 h 298273"/>
                <a:gd name="connsiteX135" fmla="*/ 119247 w 674427"/>
                <a:gd name="connsiteY135" fmla="*/ 255972 h 298273"/>
                <a:gd name="connsiteX136" fmla="*/ 118295 w 674427"/>
                <a:gd name="connsiteY136" fmla="*/ 254069 h 298273"/>
                <a:gd name="connsiteX137" fmla="*/ 122103 w 674427"/>
                <a:gd name="connsiteY137" fmla="*/ 253117 h 298273"/>
                <a:gd name="connsiteX138" fmla="*/ 126862 w 674427"/>
                <a:gd name="connsiteY138" fmla="*/ 255972 h 298273"/>
                <a:gd name="connsiteX139" fmla="*/ 131622 w 674427"/>
                <a:gd name="connsiteY139" fmla="*/ 254069 h 298273"/>
                <a:gd name="connsiteX140" fmla="*/ 133525 w 674427"/>
                <a:gd name="connsiteY140" fmla="*/ 251214 h 298273"/>
                <a:gd name="connsiteX141" fmla="*/ 139237 w 674427"/>
                <a:gd name="connsiteY141" fmla="*/ 249311 h 298273"/>
                <a:gd name="connsiteX142" fmla="*/ 140189 w 674427"/>
                <a:gd name="connsiteY142" fmla="*/ 251214 h 298273"/>
                <a:gd name="connsiteX143" fmla="*/ 148756 w 674427"/>
                <a:gd name="connsiteY143" fmla="*/ 248360 h 298273"/>
                <a:gd name="connsiteX144" fmla="*/ 155419 w 674427"/>
                <a:gd name="connsiteY144" fmla="*/ 243602 h 298273"/>
                <a:gd name="connsiteX145" fmla="*/ 161131 w 674427"/>
                <a:gd name="connsiteY145" fmla="*/ 238844 h 2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74427" h="298273">
                  <a:moveTo>
                    <a:pt x="161131" y="238844"/>
                  </a:moveTo>
                  <a:lnTo>
                    <a:pt x="163986" y="237892"/>
                  </a:lnTo>
                  <a:cubicBezTo>
                    <a:pt x="155419" y="242650"/>
                    <a:pt x="145900" y="246456"/>
                    <a:pt x="136381" y="250263"/>
                  </a:cubicBezTo>
                  <a:cubicBezTo>
                    <a:pt x="158275" y="244553"/>
                    <a:pt x="183024" y="236941"/>
                    <a:pt x="194447" y="220764"/>
                  </a:cubicBezTo>
                  <a:cubicBezTo>
                    <a:pt x="198255" y="224570"/>
                    <a:pt x="218245" y="216958"/>
                    <a:pt x="218245" y="216006"/>
                  </a:cubicBezTo>
                  <a:cubicBezTo>
                    <a:pt x="222052" y="213152"/>
                    <a:pt x="225860" y="210297"/>
                    <a:pt x="229667" y="208394"/>
                  </a:cubicBezTo>
                  <a:cubicBezTo>
                    <a:pt x="226812" y="210297"/>
                    <a:pt x="224908" y="212200"/>
                    <a:pt x="222052" y="213152"/>
                  </a:cubicBezTo>
                  <a:cubicBezTo>
                    <a:pt x="224908" y="211248"/>
                    <a:pt x="227764" y="209345"/>
                    <a:pt x="229667" y="208394"/>
                  </a:cubicBezTo>
                  <a:cubicBezTo>
                    <a:pt x="254417" y="192217"/>
                    <a:pt x="282974" y="180798"/>
                    <a:pt x="313435" y="169379"/>
                  </a:cubicBezTo>
                  <a:cubicBezTo>
                    <a:pt x="329617" y="162718"/>
                    <a:pt x="374356" y="143687"/>
                    <a:pt x="392442" y="137978"/>
                  </a:cubicBezTo>
                  <a:lnTo>
                    <a:pt x="400057" y="135123"/>
                  </a:lnTo>
                  <a:cubicBezTo>
                    <a:pt x="396250" y="136074"/>
                    <a:pt x="396250" y="136074"/>
                    <a:pt x="391490" y="137978"/>
                  </a:cubicBezTo>
                  <a:cubicBezTo>
                    <a:pt x="401009" y="132268"/>
                    <a:pt x="409576" y="126559"/>
                    <a:pt x="418144" y="121801"/>
                  </a:cubicBezTo>
                  <a:cubicBezTo>
                    <a:pt x="416240" y="121801"/>
                    <a:pt x="415288" y="120849"/>
                    <a:pt x="411480" y="121801"/>
                  </a:cubicBezTo>
                  <a:lnTo>
                    <a:pt x="416240" y="119898"/>
                  </a:lnTo>
                  <a:cubicBezTo>
                    <a:pt x="419095" y="116092"/>
                    <a:pt x="429566" y="112285"/>
                    <a:pt x="433374" y="109430"/>
                  </a:cubicBezTo>
                  <a:cubicBezTo>
                    <a:pt x="432422" y="111334"/>
                    <a:pt x="436230" y="109430"/>
                    <a:pt x="440037" y="108479"/>
                  </a:cubicBezTo>
                  <a:lnTo>
                    <a:pt x="438133" y="108479"/>
                  </a:lnTo>
                  <a:cubicBezTo>
                    <a:pt x="450508" y="103721"/>
                    <a:pt x="463835" y="97060"/>
                    <a:pt x="474306" y="92302"/>
                  </a:cubicBezTo>
                  <a:cubicBezTo>
                    <a:pt x="476209" y="91351"/>
                    <a:pt x="477161" y="91351"/>
                    <a:pt x="478113" y="91351"/>
                  </a:cubicBezTo>
                  <a:lnTo>
                    <a:pt x="488584" y="86593"/>
                  </a:lnTo>
                  <a:cubicBezTo>
                    <a:pt x="488584" y="88496"/>
                    <a:pt x="498103" y="84690"/>
                    <a:pt x="493344" y="87544"/>
                  </a:cubicBezTo>
                  <a:cubicBezTo>
                    <a:pt x="500007" y="82787"/>
                    <a:pt x="508574" y="80883"/>
                    <a:pt x="515237" y="76126"/>
                  </a:cubicBezTo>
                  <a:cubicBezTo>
                    <a:pt x="528564" y="70416"/>
                    <a:pt x="541891" y="64707"/>
                    <a:pt x="555217" y="58997"/>
                  </a:cubicBezTo>
                  <a:cubicBezTo>
                    <a:pt x="568544" y="53288"/>
                    <a:pt x="582822" y="47578"/>
                    <a:pt x="596149" y="40917"/>
                  </a:cubicBezTo>
                  <a:lnTo>
                    <a:pt x="595197" y="40917"/>
                  </a:lnTo>
                  <a:cubicBezTo>
                    <a:pt x="604716" y="36160"/>
                    <a:pt x="612331" y="31402"/>
                    <a:pt x="624706" y="27596"/>
                  </a:cubicBezTo>
                  <a:cubicBezTo>
                    <a:pt x="632321" y="22838"/>
                    <a:pt x="644696" y="18080"/>
                    <a:pt x="646599" y="14274"/>
                  </a:cubicBezTo>
                  <a:cubicBezTo>
                    <a:pt x="656118" y="10467"/>
                    <a:pt x="659926" y="8564"/>
                    <a:pt x="669445" y="4758"/>
                  </a:cubicBezTo>
                  <a:cubicBezTo>
                    <a:pt x="666589" y="3806"/>
                    <a:pt x="678012" y="0"/>
                    <a:pt x="673253" y="0"/>
                  </a:cubicBezTo>
                  <a:cubicBezTo>
                    <a:pt x="666589" y="0"/>
                    <a:pt x="666589" y="1903"/>
                    <a:pt x="659926" y="1903"/>
                  </a:cubicBezTo>
                  <a:lnTo>
                    <a:pt x="659926" y="1903"/>
                  </a:lnTo>
                  <a:cubicBezTo>
                    <a:pt x="633273" y="7613"/>
                    <a:pt x="607572" y="15225"/>
                    <a:pt x="581870" y="23789"/>
                  </a:cubicBezTo>
                  <a:cubicBezTo>
                    <a:pt x="565688" y="31402"/>
                    <a:pt x="546650" y="37111"/>
                    <a:pt x="528564" y="44724"/>
                  </a:cubicBezTo>
                  <a:cubicBezTo>
                    <a:pt x="509526" y="52336"/>
                    <a:pt x="489536" y="61852"/>
                    <a:pt x="474306" y="69465"/>
                  </a:cubicBezTo>
                  <a:cubicBezTo>
                    <a:pt x="470498" y="71368"/>
                    <a:pt x="467642" y="71368"/>
                    <a:pt x="463835" y="72319"/>
                  </a:cubicBezTo>
                  <a:cubicBezTo>
                    <a:pt x="449556" y="78980"/>
                    <a:pt x="430518" y="86593"/>
                    <a:pt x="414336" y="94205"/>
                  </a:cubicBezTo>
                  <a:lnTo>
                    <a:pt x="415288" y="94205"/>
                  </a:lnTo>
                  <a:cubicBezTo>
                    <a:pt x="406721" y="98012"/>
                    <a:pt x="399106" y="99915"/>
                    <a:pt x="390538" y="103721"/>
                  </a:cubicBezTo>
                  <a:cubicBezTo>
                    <a:pt x="390538" y="103721"/>
                    <a:pt x="389587" y="104673"/>
                    <a:pt x="388635" y="105624"/>
                  </a:cubicBezTo>
                  <a:cubicBezTo>
                    <a:pt x="386731" y="104673"/>
                    <a:pt x="340088" y="132268"/>
                    <a:pt x="336280" y="132268"/>
                  </a:cubicBezTo>
                  <a:lnTo>
                    <a:pt x="333424" y="134171"/>
                  </a:lnTo>
                  <a:cubicBezTo>
                    <a:pt x="315338" y="141784"/>
                    <a:pt x="295348" y="146542"/>
                    <a:pt x="280118" y="154154"/>
                  </a:cubicBezTo>
                  <a:cubicBezTo>
                    <a:pt x="277262" y="157009"/>
                    <a:pt x="273455" y="158912"/>
                    <a:pt x="271551" y="161767"/>
                  </a:cubicBezTo>
                  <a:cubicBezTo>
                    <a:pt x="268695" y="161767"/>
                    <a:pt x="268695" y="163670"/>
                    <a:pt x="264888" y="165573"/>
                  </a:cubicBezTo>
                  <a:cubicBezTo>
                    <a:pt x="254417" y="165573"/>
                    <a:pt x="250609" y="169379"/>
                    <a:pt x="255369" y="169379"/>
                  </a:cubicBezTo>
                  <a:cubicBezTo>
                    <a:pt x="248705" y="173186"/>
                    <a:pt x="242042" y="176040"/>
                    <a:pt x="235379" y="178895"/>
                  </a:cubicBezTo>
                  <a:cubicBezTo>
                    <a:pt x="232523" y="180798"/>
                    <a:pt x="229667" y="181750"/>
                    <a:pt x="227764" y="183653"/>
                  </a:cubicBezTo>
                  <a:cubicBezTo>
                    <a:pt x="225860" y="185556"/>
                    <a:pt x="223956" y="185556"/>
                    <a:pt x="222052" y="184604"/>
                  </a:cubicBezTo>
                  <a:cubicBezTo>
                    <a:pt x="216341" y="188411"/>
                    <a:pt x="217293" y="186508"/>
                    <a:pt x="210629" y="189362"/>
                  </a:cubicBezTo>
                  <a:cubicBezTo>
                    <a:pt x="208726" y="188411"/>
                    <a:pt x="195399" y="198878"/>
                    <a:pt x="193495" y="199829"/>
                  </a:cubicBezTo>
                  <a:lnTo>
                    <a:pt x="194447" y="198878"/>
                  </a:lnTo>
                  <a:cubicBezTo>
                    <a:pt x="186832" y="202684"/>
                    <a:pt x="181120" y="201733"/>
                    <a:pt x="173505" y="205539"/>
                  </a:cubicBezTo>
                  <a:cubicBezTo>
                    <a:pt x="152563" y="214103"/>
                    <a:pt x="131622" y="225522"/>
                    <a:pt x="112584" y="235038"/>
                  </a:cubicBezTo>
                  <a:cubicBezTo>
                    <a:pt x="112584" y="235989"/>
                    <a:pt x="116391" y="233134"/>
                    <a:pt x="117343" y="234086"/>
                  </a:cubicBezTo>
                  <a:cubicBezTo>
                    <a:pt x="105920" y="238844"/>
                    <a:pt x="94498" y="242650"/>
                    <a:pt x="83075" y="248360"/>
                  </a:cubicBezTo>
                  <a:cubicBezTo>
                    <a:pt x="81171" y="249311"/>
                    <a:pt x="78315" y="249311"/>
                    <a:pt x="77363" y="249311"/>
                  </a:cubicBezTo>
                  <a:cubicBezTo>
                    <a:pt x="73556" y="250263"/>
                    <a:pt x="75460" y="251214"/>
                    <a:pt x="72604" y="252166"/>
                  </a:cubicBezTo>
                  <a:lnTo>
                    <a:pt x="71652" y="251214"/>
                  </a:lnTo>
                  <a:cubicBezTo>
                    <a:pt x="68796" y="254069"/>
                    <a:pt x="64989" y="252166"/>
                    <a:pt x="62133" y="255021"/>
                  </a:cubicBezTo>
                  <a:cubicBezTo>
                    <a:pt x="62133" y="255972"/>
                    <a:pt x="61181" y="255972"/>
                    <a:pt x="59277" y="256924"/>
                  </a:cubicBezTo>
                  <a:cubicBezTo>
                    <a:pt x="58325" y="255972"/>
                    <a:pt x="55470" y="258827"/>
                    <a:pt x="55470" y="257875"/>
                  </a:cubicBezTo>
                  <a:lnTo>
                    <a:pt x="55470" y="257875"/>
                  </a:lnTo>
                  <a:cubicBezTo>
                    <a:pt x="54518" y="257875"/>
                    <a:pt x="54518" y="258827"/>
                    <a:pt x="53566" y="258827"/>
                  </a:cubicBezTo>
                  <a:cubicBezTo>
                    <a:pt x="52614" y="259778"/>
                    <a:pt x="40239" y="270246"/>
                    <a:pt x="39287" y="271197"/>
                  </a:cubicBezTo>
                  <a:lnTo>
                    <a:pt x="38335" y="271197"/>
                  </a:lnTo>
                  <a:cubicBezTo>
                    <a:pt x="36432" y="272149"/>
                    <a:pt x="35480" y="274052"/>
                    <a:pt x="37384" y="273100"/>
                  </a:cubicBezTo>
                  <a:lnTo>
                    <a:pt x="34528" y="274052"/>
                  </a:lnTo>
                  <a:lnTo>
                    <a:pt x="34528" y="274052"/>
                  </a:lnTo>
                  <a:lnTo>
                    <a:pt x="31672" y="275004"/>
                  </a:lnTo>
                  <a:cubicBezTo>
                    <a:pt x="30720" y="275004"/>
                    <a:pt x="30720" y="275004"/>
                    <a:pt x="30720" y="274052"/>
                  </a:cubicBezTo>
                  <a:cubicBezTo>
                    <a:pt x="29768" y="275004"/>
                    <a:pt x="27865" y="275955"/>
                    <a:pt x="26913" y="276907"/>
                  </a:cubicBezTo>
                  <a:cubicBezTo>
                    <a:pt x="31672" y="275955"/>
                    <a:pt x="36432" y="274052"/>
                    <a:pt x="41191" y="274052"/>
                  </a:cubicBezTo>
                  <a:cubicBezTo>
                    <a:pt x="39287" y="275004"/>
                    <a:pt x="36432" y="275955"/>
                    <a:pt x="34528" y="276907"/>
                  </a:cubicBezTo>
                  <a:cubicBezTo>
                    <a:pt x="31672" y="276907"/>
                    <a:pt x="26913" y="278810"/>
                    <a:pt x="23105" y="279761"/>
                  </a:cubicBezTo>
                  <a:cubicBezTo>
                    <a:pt x="22153" y="279761"/>
                    <a:pt x="22153" y="281664"/>
                    <a:pt x="20249" y="281664"/>
                  </a:cubicBezTo>
                  <a:cubicBezTo>
                    <a:pt x="19297" y="280713"/>
                    <a:pt x="18346" y="282616"/>
                    <a:pt x="16442" y="282616"/>
                  </a:cubicBezTo>
                  <a:cubicBezTo>
                    <a:pt x="17394" y="281664"/>
                    <a:pt x="19297" y="280713"/>
                    <a:pt x="21201" y="279761"/>
                  </a:cubicBezTo>
                  <a:cubicBezTo>
                    <a:pt x="20249" y="278810"/>
                    <a:pt x="16442" y="280713"/>
                    <a:pt x="15490" y="281664"/>
                  </a:cubicBezTo>
                  <a:cubicBezTo>
                    <a:pt x="15490" y="282616"/>
                    <a:pt x="11682" y="283568"/>
                    <a:pt x="9778" y="284519"/>
                  </a:cubicBezTo>
                  <a:cubicBezTo>
                    <a:pt x="9778" y="282616"/>
                    <a:pt x="7875" y="284519"/>
                    <a:pt x="5971" y="284519"/>
                  </a:cubicBezTo>
                  <a:cubicBezTo>
                    <a:pt x="4067" y="285471"/>
                    <a:pt x="4067" y="285471"/>
                    <a:pt x="5019" y="286422"/>
                  </a:cubicBezTo>
                  <a:cubicBezTo>
                    <a:pt x="5019" y="288325"/>
                    <a:pt x="10730" y="284519"/>
                    <a:pt x="9778" y="286422"/>
                  </a:cubicBezTo>
                  <a:cubicBezTo>
                    <a:pt x="8827" y="286422"/>
                    <a:pt x="5971" y="287374"/>
                    <a:pt x="5019" y="288325"/>
                  </a:cubicBezTo>
                  <a:cubicBezTo>
                    <a:pt x="5019" y="289277"/>
                    <a:pt x="5971" y="288325"/>
                    <a:pt x="5971" y="289277"/>
                  </a:cubicBezTo>
                  <a:cubicBezTo>
                    <a:pt x="4067" y="290229"/>
                    <a:pt x="3115" y="291180"/>
                    <a:pt x="1211" y="291180"/>
                  </a:cubicBezTo>
                  <a:lnTo>
                    <a:pt x="2163" y="290229"/>
                  </a:lnTo>
                  <a:cubicBezTo>
                    <a:pt x="259" y="291180"/>
                    <a:pt x="11682" y="280713"/>
                    <a:pt x="8827" y="281664"/>
                  </a:cubicBezTo>
                  <a:cubicBezTo>
                    <a:pt x="9778" y="281664"/>
                    <a:pt x="-1644" y="291180"/>
                    <a:pt x="259" y="291180"/>
                  </a:cubicBezTo>
                  <a:cubicBezTo>
                    <a:pt x="2163" y="291180"/>
                    <a:pt x="259" y="293083"/>
                    <a:pt x="1211" y="292132"/>
                  </a:cubicBezTo>
                  <a:lnTo>
                    <a:pt x="2163" y="290229"/>
                  </a:lnTo>
                  <a:cubicBezTo>
                    <a:pt x="4067" y="289277"/>
                    <a:pt x="5019" y="290229"/>
                    <a:pt x="5019" y="291180"/>
                  </a:cubicBezTo>
                  <a:cubicBezTo>
                    <a:pt x="2163" y="292132"/>
                    <a:pt x="11682" y="282616"/>
                    <a:pt x="8827" y="284519"/>
                  </a:cubicBezTo>
                  <a:lnTo>
                    <a:pt x="9778" y="284519"/>
                  </a:lnTo>
                  <a:cubicBezTo>
                    <a:pt x="8827" y="285471"/>
                    <a:pt x="5971" y="287374"/>
                    <a:pt x="5019" y="287374"/>
                  </a:cubicBezTo>
                  <a:cubicBezTo>
                    <a:pt x="5019" y="288325"/>
                    <a:pt x="4067" y="289277"/>
                    <a:pt x="3115" y="290229"/>
                  </a:cubicBezTo>
                  <a:lnTo>
                    <a:pt x="2163" y="290229"/>
                  </a:lnTo>
                  <a:cubicBezTo>
                    <a:pt x="1211" y="291180"/>
                    <a:pt x="-692" y="292132"/>
                    <a:pt x="259" y="292132"/>
                  </a:cubicBezTo>
                  <a:cubicBezTo>
                    <a:pt x="7875" y="288325"/>
                    <a:pt x="-1644" y="300696"/>
                    <a:pt x="5971" y="297841"/>
                  </a:cubicBezTo>
                  <a:cubicBezTo>
                    <a:pt x="2163" y="297841"/>
                    <a:pt x="5971" y="295938"/>
                    <a:pt x="9778" y="294035"/>
                  </a:cubicBezTo>
                  <a:cubicBezTo>
                    <a:pt x="10730" y="294035"/>
                    <a:pt x="11682" y="294035"/>
                    <a:pt x="14538" y="294035"/>
                  </a:cubicBezTo>
                  <a:cubicBezTo>
                    <a:pt x="16442" y="293083"/>
                    <a:pt x="15490" y="293083"/>
                    <a:pt x="15490" y="292132"/>
                  </a:cubicBezTo>
                  <a:cubicBezTo>
                    <a:pt x="16442" y="292132"/>
                    <a:pt x="19297" y="291180"/>
                    <a:pt x="19297" y="292132"/>
                  </a:cubicBezTo>
                  <a:cubicBezTo>
                    <a:pt x="20249" y="290229"/>
                    <a:pt x="22153" y="291180"/>
                    <a:pt x="24057" y="290229"/>
                  </a:cubicBezTo>
                  <a:cubicBezTo>
                    <a:pt x="25961" y="289277"/>
                    <a:pt x="24057" y="290229"/>
                    <a:pt x="25009" y="289277"/>
                  </a:cubicBezTo>
                  <a:cubicBezTo>
                    <a:pt x="27865" y="288325"/>
                    <a:pt x="30720" y="286422"/>
                    <a:pt x="32624" y="285471"/>
                  </a:cubicBezTo>
                  <a:cubicBezTo>
                    <a:pt x="33576" y="285471"/>
                    <a:pt x="36432" y="285471"/>
                    <a:pt x="35480" y="288325"/>
                  </a:cubicBezTo>
                  <a:cubicBezTo>
                    <a:pt x="31672" y="290229"/>
                    <a:pt x="36432" y="285471"/>
                    <a:pt x="32624" y="288325"/>
                  </a:cubicBezTo>
                  <a:cubicBezTo>
                    <a:pt x="35480" y="289277"/>
                    <a:pt x="29768" y="290229"/>
                    <a:pt x="29768" y="292132"/>
                  </a:cubicBezTo>
                  <a:cubicBezTo>
                    <a:pt x="31672" y="292132"/>
                    <a:pt x="33576" y="291180"/>
                    <a:pt x="35480" y="290229"/>
                  </a:cubicBezTo>
                  <a:lnTo>
                    <a:pt x="34528" y="290229"/>
                  </a:lnTo>
                  <a:cubicBezTo>
                    <a:pt x="36432" y="289277"/>
                    <a:pt x="40239" y="287374"/>
                    <a:pt x="42143" y="286422"/>
                  </a:cubicBezTo>
                  <a:cubicBezTo>
                    <a:pt x="42143" y="287374"/>
                    <a:pt x="43095" y="287374"/>
                    <a:pt x="42143" y="288325"/>
                  </a:cubicBezTo>
                  <a:lnTo>
                    <a:pt x="44999" y="287374"/>
                  </a:lnTo>
                  <a:cubicBezTo>
                    <a:pt x="44999" y="287374"/>
                    <a:pt x="44999" y="286422"/>
                    <a:pt x="44999" y="287374"/>
                  </a:cubicBezTo>
                  <a:cubicBezTo>
                    <a:pt x="45951" y="286422"/>
                    <a:pt x="46903" y="286422"/>
                    <a:pt x="48806" y="285471"/>
                  </a:cubicBezTo>
                  <a:cubicBezTo>
                    <a:pt x="49758" y="285471"/>
                    <a:pt x="61181" y="275955"/>
                    <a:pt x="61181" y="276907"/>
                  </a:cubicBezTo>
                  <a:cubicBezTo>
                    <a:pt x="63085" y="275955"/>
                    <a:pt x="64037" y="276907"/>
                    <a:pt x="64989" y="275004"/>
                  </a:cubicBezTo>
                  <a:cubicBezTo>
                    <a:pt x="64989" y="274052"/>
                    <a:pt x="48806" y="285471"/>
                    <a:pt x="50710" y="284519"/>
                  </a:cubicBezTo>
                  <a:cubicBezTo>
                    <a:pt x="52614" y="284519"/>
                    <a:pt x="69748" y="271197"/>
                    <a:pt x="71652" y="272149"/>
                  </a:cubicBezTo>
                  <a:cubicBezTo>
                    <a:pt x="72604" y="271197"/>
                    <a:pt x="74508" y="270246"/>
                    <a:pt x="73556" y="270246"/>
                  </a:cubicBezTo>
                  <a:cubicBezTo>
                    <a:pt x="76411" y="269294"/>
                    <a:pt x="73556" y="272149"/>
                    <a:pt x="75460" y="271197"/>
                  </a:cubicBezTo>
                  <a:lnTo>
                    <a:pt x="75460" y="271197"/>
                  </a:lnTo>
                  <a:lnTo>
                    <a:pt x="77363" y="271197"/>
                  </a:lnTo>
                  <a:cubicBezTo>
                    <a:pt x="80219" y="268343"/>
                    <a:pt x="85930" y="267391"/>
                    <a:pt x="89738" y="264536"/>
                  </a:cubicBezTo>
                  <a:cubicBezTo>
                    <a:pt x="88786" y="265488"/>
                    <a:pt x="88786" y="267391"/>
                    <a:pt x="85930" y="269294"/>
                  </a:cubicBezTo>
                  <a:lnTo>
                    <a:pt x="84979" y="269294"/>
                  </a:lnTo>
                  <a:lnTo>
                    <a:pt x="83075" y="271197"/>
                  </a:lnTo>
                  <a:cubicBezTo>
                    <a:pt x="85930" y="270246"/>
                    <a:pt x="87834" y="269294"/>
                    <a:pt x="89738" y="267391"/>
                  </a:cubicBezTo>
                  <a:cubicBezTo>
                    <a:pt x="90690" y="267391"/>
                    <a:pt x="90690" y="267391"/>
                    <a:pt x="91642" y="267391"/>
                  </a:cubicBezTo>
                  <a:lnTo>
                    <a:pt x="91642" y="267391"/>
                  </a:lnTo>
                  <a:cubicBezTo>
                    <a:pt x="92594" y="267391"/>
                    <a:pt x="92594" y="267391"/>
                    <a:pt x="92594" y="268343"/>
                  </a:cubicBezTo>
                  <a:lnTo>
                    <a:pt x="92594" y="268343"/>
                  </a:lnTo>
                  <a:cubicBezTo>
                    <a:pt x="94498" y="269294"/>
                    <a:pt x="101161" y="262633"/>
                    <a:pt x="105920" y="261681"/>
                  </a:cubicBezTo>
                  <a:cubicBezTo>
                    <a:pt x="106872" y="260730"/>
                    <a:pt x="105920" y="261681"/>
                    <a:pt x="106872" y="259778"/>
                  </a:cubicBezTo>
                  <a:cubicBezTo>
                    <a:pt x="111632" y="258827"/>
                    <a:pt x="114487" y="257875"/>
                    <a:pt x="119247" y="255972"/>
                  </a:cubicBezTo>
                  <a:cubicBezTo>
                    <a:pt x="120199" y="254069"/>
                    <a:pt x="120199" y="254069"/>
                    <a:pt x="118295" y="254069"/>
                  </a:cubicBezTo>
                  <a:lnTo>
                    <a:pt x="122103" y="253117"/>
                  </a:lnTo>
                  <a:cubicBezTo>
                    <a:pt x="120199" y="256924"/>
                    <a:pt x="129718" y="252166"/>
                    <a:pt x="126862" y="255972"/>
                  </a:cubicBezTo>
                  <a:cubicBezTo>
                    <a:pt x="127814" y="255972"/>
                    <a:pt x="129718" y="255021"/>
                    <a:pt x="131622" y="254069"/>
                  </a:cubicBezTo>
                  <a:cubicBezTo>
                    <a:pt x="131622" y="253117"/>
                    <a:pt x="131622" y="252166"/>
                    <a:pt x="133525" y="251214"/>
                  </a:cubicBezTo>
                  <a:cubicBezTo>
                    <a:pt x="137333" y="250263"/>
                    <a:pt x="136381" y="250263"/>
                    <a:pt x="139237" y="249311"/>
                  </a:cubicBezTo>
                  <a:cubicBezTo>
                    <a:pt x="140189" y="249311"/>
                    <a:pt x="139237" y="250263"/>
                    <a:pt x="140189" y="251214"/>
                  </a:cubicBezTo>
                  <a:cubicBezTo>
                    <a:pt x="143996" y="248360"/>
                    <a:pt x="144948" y="251214"/>
                    <a:pt x="148756" y="248360"/>
                  </a:cubicBezTo>
                  <a:cubicBezTo>
                    <a:pt x="151612" y="247408"/>
                    <a:pt x="156371" y="244553"/>
                    <a:pt x="155419" y="243602"/>
                  </a:cubicBezTo>
                  <a:cubicBezTo>
                    <a:pt x="161131" y="236941"/>
                    <a:pt x="161131" y="237892"/>
                    <a:pt x="161131" y="238844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  <p:sp>
          <p:nvSpPr>
            <p:cNvPr id="11" name="Kombinationstegning 10">
              <a:extLst>
                <a:ext uri="{FF2B5EF4-FFF2-40B4-BE49-F238E27FC236}">
                  <a16:creationId xmlns:a16="http://schemas.microsoft.com/office/drawing/2014/main" id="{F4F00D4A-85ED-1F45-9352-DB89BAE5780C}"/>
                </a:ext>
              </a:extLst>
            </p:cNvPr>
            <p:cNvSpPr/>
            <p:nvPr/>
          </p:nvSpPr>
          <p:spPr>
            <a:xfrm>
              <a:off x="4230253" y="1614978"/>
              <a:ext cx="327509" cy="227766"/>
            </a:xfrm>
            <a:custGeom>
              <a:avLst/>
              <a:gdLst>
                <a:gd name="connsiteX0" fmla="*/ 139034 w 327509"/>
                <a:gd name="connsiteY0" fmla="*/ 58997 h 227766"/>
                <a:gd name="connsiteX1" fmla="*/ 141889 w 327509"/>
                <a:gd name="connsiteY1" fmla="*/ 58997 h 227766"/>
                <a:gd name="connsiteX2" fmla="*/ 116188 w 327509"/>
                <a:gd name="connsiteY2" fmla="*/ 61852 h 227766"/>
                <a:gd name="connsiteX3" fmla="*/ 170446 w 327509"/>
                <a:gd name="connsiteY3" fmla="*/ 51385 h 227766"/>
                <a:gd name="connsiteX4" fmla="*/ 191388 w 327509"/>
                <a:gd name="connsiteY4" fmla="*/ 54239 h 227766"/>
                <a:gd name="connsiteX5" fmla="*/ 201859 w 327509"/>
                <a:gd name="connsiteY5" fmla="*/ 50433 h 227766"/>
                <a:gd name="connsiteX6" fmla="*/ 194244 w 327509"/>
                <a:gd name="connsiteY6" fmla="*/ 53288 h 227766"/>
                <a:gd name="connsiteX7" fmla="*/ 201859 w 327509"/>
                <a:gd name="connsiteY7" fmla="*/ 50433 h 227766"/>
                <a:gd name="connsiteX8" fmla="*/ 210426 w 327509"/>
                <a:gd name="connsiteY8" fmla="*/ 47578 h 227766"/>
                <a:gd name="connsiteX9" fmla="*/ 218041 w 327509"/>
                <a:gd name="connsiteY9" fmla="*/ 45675 h 227766"/>
                <a:gd name="connsiteX10" fmla="*/ 224705 w 327509"/>
                <a:gd name="connsiteY10" fmla="*/ 43772 h 227766"/>
                <a:gd name="connsiteX11" fmla="*/ 231368 w 327509"/>
                <a:gd name="connsiteY11" fmla="*/ 44724 h 227766"/>
                <a:gd name="connsiteX12" fmla="*/ 231368 w 327509"/>
                <a:gd name="connsiteY12" fmla="*/ 44724 h 227766"/>
                <a:gd name="connsiteX13" fmla="*/ 230416 w 327509"/>
                <a:gd name="connsiteY13" fmla="*/ 45675 h 227766"/>
                <a:gd name="connsiteX14" fmla="*/ 225657 w 327509"/>
                <a:gd name="connsiteY14" fmla="*/ 48530 h 227766"/>
                <a:gd name="connsiteX15" fmla="*/ 219945 w 327509"/>
                <a:gd name="connsiteY15" fmla="*/ 51385 h 227766"/>
                <a:gd name="connsiteX16" fmla="*/ 218993 w 327509"/>
                <a:gd name="connsiteY16" fmla="*/ 51385 h 227766"/>
                <a:gd name="connsiteX17" fmla="*/ 219945 w 327509"/>
                <a:gd name="connsiteY17" fmla="*/ 51385 h 227766"/>
                <a:gd name="connsiteX18" fmla="*/ 220897 w 327509"/>
                <a:gd name="connsiteY18" fmla="*/ 53288 h 227766"/>
                <a:gd name="connsiteX19" fmla="*/ 220897 w 327509"/>
                <a:gd name="connsiteY19" fmla="*/ 53288 h 227766"/>
                <a:gd name="connsiteX20" fmla="*/ 219945 w 327509"/>
                <a:gd name="connsiteY20" fmla="*/ 54239 h 227766"/>
                <a:gd name="connsiteX21" fmla="*/ 218041 w 327509"/>
                <a:gd name="connsiteY21" fmla="*/ 56143 h 227766"/>
                <a:gd name="connsiteX22" fmla="*/ 213282 w 327509"/>
                <a:gd name="connsiteY22" fmla="*/ 60900 h 227766"/>
                <a:gd name="connsiteX23" fmla="*/ 218993 w 327509"/>
                <a:gd name="connsiteY23" fmla="*/ 59949 h 227766"/>
                <a:gd name="connsiteX24" fmla="*/ 215186 w 327509"/>
                <a:gd name="connsiteY24" fmla="*/ 61852 h 227766"/>
                <a:gd name="connsiteX25" fmla="*/ 203763 w 327509"/>
                <a:gd name="connsiteY25" fmla="*/ 75174 h 227766"/>
                <a:gd name="connsiteX26" fmla="*/ 199003 w 327509"/>
                <a:gd name="connsiteY26" fmla="*/ 77077 h 227766"/>
                <a:gd name="connsiteX27" fmla="*/ 199955 w 327509"/>
                <a:gd name="connsiteY27" fmla="*/ 77077 h 227766"/>
                <a:gd name="connsiteX28" fmla="*/ 174254 w 327509"/>
                <a:gd name="connsiteY28" fmla="*/ 98011 h 227766"/>
                <a:gd name="connsiteX29" fmla="*/ 171398 w 327509"/>
                <a:gd name="connsiteY29" fmla="*/ 98963 h 227766"/>
                <a:gd name="connsiteX30" fmla="*/ 164735 w 327509"/>
                <a:gd name="connsiteY30" fmla="*/ 105624 h 227766"/>
                <a:gd name="connsiteX31" fmla="*/ 160927 w 327509"/>
                <a:gd name="connsiteY31" fmla="*/ 105624 h 227766"/>
                <a:gd name="connsiteX32" fmla="*/ 146649 w 327509"/>
                <a:gd name="connsiteY32" fmla="*/ 120849 h 227766"/>
                <a:gd name="connsiteX33" fmla="*/ 91439 w 327509"/>
                <a:gd name="connsiteY33" fmla="*/ 170331 h 227766"/>
                <a:gd name="connsiteX34" fmla="*/ 92391 w 327509"/>
                <a:gd name="connsiteY34" fmla="*/ 170331 h 227766"/>
                <a:gd name="connsiteX35" fmla="*/ 73353 w 327509"/>
                <a:gd name="connsiteY35" fmla="*/ 189362 h 227766"/>
                <a:gd name="connsiteX36" fmla="*/ 60978 w 327509"/>
                <a:gd name="connsiteY36" fmla="*/ 207442 h 227766"/>
                <a:gd name="connsiteX37" fmla="*/ 46699 w 327509"/>
                <a:gd name="connsiteY37" fmla="*/ 222667 h 227766"/>
                <a:gd name="connsiteX38" fmla="*/ 45747 w 327509"/>
                <a:gd name="connsiteY38" fmla="*/ 227425 h 227766"/>
                <a:gd name="connsiteX39" fmla="*/ 55266 w 327509"/>
                <a:gd name="connsiteY39" fmla="*/ 221715 h 227766"/>
                <a:gd name="connsiteX40" fmla="*/ 55266 w 327509"/>
                <a:gd name="connsiteY40" fmla="*/ 221715 h 227766"/>
                <a:gd name="connsiteX41" fmla="*/ 110477 w 327509"/>
                <a:gd name="connsiteY41" fmla="*/ 182701 h 227766"/>
                <a:gd name="connsiteX42" fmla="*/ 146649 w 327509"/>
                <a:gd name="connsiteY42" fmla="*/ 152251 h 227766"/>
                <a:gd name="connsiteX43" fmla="*/ 183773 w 327509"/>
                <a:gd name="connsiteY43" fmla="*/ 118946 h 227766"/>
                <a:gd name="connsiteX44" fmla="*/ 191388 w 327509"/>
                <a:gd name="connsiteY44" fmla="*/ 114188 h 227766"/>
                <a:gd name="connsiteX45" fmla="*/ 226608 w 327509"/>
                <a:gd name="connsiteY45" fmla="*/ 84690 h 227766"/>
                <a:gd name="connsiteX46" fmla="*/ 225657 w 327509"/>
                <a:gd name="connsiteY46" fmla="*/ 84690 h 227766"/>
                <a:gd name="connsiteX47" fmla="*/ 234224 w 327509"/>
                <a:gd name="connsiteY47" fmla="*/ 78029 h 227766"/>
                <a:gd name="connsiteX48" fmla="*/ 238983 w 327509"/>
                <a:gd name="connsiteY48" fmla="*/ 75174 h 227766"/>
                <a:gd name="connsiteX49" fmla="*/ 240887 w 327509"/>
                <a:gd name="connsiteY49" fmla="*/ 73271 h 227766"/>
                <a:gd name="connsiteX50" fmla="*/ 244695 w 327509"/>
                <a:gd name="connsiteY50" fmla="*/ 70416 h 227766"/>
                <a:gd name="connsiteX51" fmla="*/ 246598 w 327509"/>
                <a:gd name="connsiteY51" fmla="*/ 68513 h 227766"/>
                <a:gd name="connsiteX52" fmla="*/ 275155 w 327509"/>
                <a:gd name="connsiteY52" fmla="*/ 43772 h 227766"/>
                <a:gd name="connsiteX53" fmla="*/ 300857 w 327509"/>
                <a:gd name="connsiteY53" fmla="*/ 20934 h 227766"/>
                <a:gd name="connsiteX54" fmla="*/ 302760 w 327509"/>
                <a:gd name="connsiteY54" fmla="*/ 19031 h 227766"/>
                <a:gd name="connsiteX55" fmla="*/ 320847 w 327509"/>
                <a:gd name="connsiteY55" fmla="*/ 5709 h 227766"/>
                <a:gd name="connsiteX56" fmla="*/ 325606 w 327509"/>
                <a:gd name="connsiteY56" fmla="*/ 1903 h 227766"/>
                <a:gd name="connsiteX57" fmla="*/ 326558 w 327509"/>
                <a:gd name="connsiteY57" fmla="*/ 951 h 227766"/>
                <a:gd name="connsiteX58" fmla="*/ 327510 w 327509"/>
                <a:gd name="connsiteY58" fmla="*/ 0 h 227766"/>
                <a:gd name="connsiteX59" fmla="*/ 325606 w 327509"/>
                <a:gd name="connsiteY59" fmla="*/ 0 h 227766"/>
                <a:gd name="connsiteX60" fmla="*/ 318943 w 327509"/>
                <a:gd name="connsiteY60" fmla="*/ 0 h 227766"/>
                <a:gd name="connsiteX61" fmla="*/ 285626 w 327509"/>
                <a:gd name="connsiteY61" fmla="*/ 3806 h 227766"/>
                <a:gd name="connsiteX62" fmla="*/ 265636 w 327509"/>
                <a:gd name="connsiteY62" fmla="*/ 10467 h 227766"/>
                <a:gd name="connsiteX63" fmla="*/ 255165 w 327509"/>
                <a:gd name="connsiteY63" fmla="*/ 13322 h 227766"/>
                <a:gd name="connsiteX64" fmla="*/ 244695 w 327509"/>
                <a:gd name="connsiteY64" fmla="*/ 12370 h 227766"/>
                <a:gd name="connsiteX65" fmla="*/ 243743 w 327509"/>
                <a:gd name="connsiteY65" fmla="*/ 14274 h 227766"/>
                <a:gd name="connsiteX66" fmla="*/ 216138 w 327509"/>
                <a:gd name="connsiteY66" fmla="*/ 19983 h 227766"/>
                <a:gd name="connsiteX67" fmla="*/ 213282 w 327509"/>
                <a:gd name="connsiteY67" fmla="*/ 20934 h 227766"/>
                <a:gd name="connsiteX68" fmla="*/ 211378 w 327509"/>
                <a:gd name="connsiteY68" fmla="*/ 21886 h 227766"/>
                <a:gd name="connsiteX69" fmla="*/ 207570 w 327509"/>
                <a:gd name="connsiteY69" fmla="*/ 22838 h 227766"/>
                <a:gd name="connsiteX70" fmla="*/ 202811 w 327509"/>
                <a:gd name="connsiteY70" fmla="*/ 22838 h 227766"/>
                <a:gd name="connsiteX71" fmla="*/ 192340 w 327509"/>
                <a:gd name="connsiteY71" fmla="*/ 23789 h 227766"/>
                <a:gd name="connsiteX72" fmla="*/ 176158 w 327509"/>
                <a:gd name="connsiteY72" fmla="*/ 28547 h 227766"/>
                <a:gd name="connsiteX73" fmla="*/ 177110 w 327509"/>
                <a:gd name="connsiteY73" fmla="*/ 28547 h 227766"/>
                <a:gd name="connsiteX74" fmla="*/ 159024 w 327509"/>
                <a:gd name="connsiteY74" fmla="*/ 28547 h 227766"/>
                <a:gd name="connsiteX75" fmla="*/ 102861 w 327509"/>
                <a:gd name="connsiteY75" fmla="*/ 37111 h 227766"/>
                <a:gd name="connsiteX76" fmla="*/ 106669 w 327509"/>
                <a:gd name="connsiteY76" fmla="*/ 38063 h 227766"/>
                <a:gd name="connsiteX77" fmla="*/ 76208 w 327509"/>
                <a:gd name="connsiteY77" fmla="*/ 39966 h 227766"/>
                <a:gd name="connsiteX78" fmla="*/ 71449 w 327509"/>
                <a:gd name="connsiteY78" fmla="*/ 39014 h 227766"/>
                <a:gd name="connsiteX79" fmla="*/ 67641 w 327509"/>
                <a:gd name="connsiteY79" fmla="*/ 39966 h 227766"/>
                <a:gd name="connsiteX80" fmla="*/ 66689 w 327509"/>
                <a:gd name="connsiteY80" fmla="*/ 39014 h 227766"/>
                <a:gd name="connsiteX81" fmla="*/ 58122 w 327509"/>
                <a:gd name="connsiteY81" fmla="*/ 39014 h 227766"/>
                <a:gd name="connsiteX82" fmla="*/ 55266 w 327509"/>
                <a:gd name="connsiteY82" fmla="*/ 39966 h 227766"/>
                <a:gd name="connsiteX83" fmla="*/ 51459 w 327509"/>
                <a:gd name="connsiteY83" fmla="*/ 39014 h 227766"/>
                <a:gd name="connsiteX84" fmla="*/ 51459 w 327509"/>
                <a:gd name="connsiteY84" fmla="*/ 39014 h 227766"/>
                <a:gd name="connsiteX85" fmla="*/ 49555 w 327509"/>
                <a:gd name="connsiteY85" fmla="*/ 39014 h 227766"/>
                <a:gd name="connsiteX86" fmla="*/ 35277 w 327509"/>
                <a:gd name="connsiteY86" fmla="*/ 45675 h 227766"/>
                <a:gd name="connsiteX87" fmla="*/ 34325 w 327509"/>
                <a:gd name="connsiteY87" fmla="*/ 45675 h 227766"/>
                <a:gd name="connsiteX88" fmla="*/ 32421 w 327509"/>
                <a:gd name="connsiteY88" fmla="*/ 47578 h 227766"/>
                <a:gd name="connsiteX89" fmla="*/ 30517 w 327509"/>
                <a:gd name="connsiteY89" fmla="*/ 47578 h 227766"/>
                <a:gd name="connsiteX90" fmla="*/ 30517 w 327509"/>
                <a:gd name="connsiteY90" fmla="*/ 47578 h 227766"/>
                <a:gd name="connsiteX91" fmla="*/ 28613 w 327509"/>
                <a:gd name="connsiteY91" fmla="*/ 47578 h 227766"/>
                <a:gd name="connsiteX92" fmla="*/ 28613 w 327509"/>
                <a:gd name="connsiteY92" fmla="*/ 46627 h 227766"/>
                <a:gd name="connsiteX93" fmla="*/ 24806 w 327509"/>
                <a:gd name="connsiteY93" fmla="*/ 47578 h 227766"/>
                <a:gd name="connsiteX94" fmla="*/ 37180 w 327509"/>
                <a:gd name="connsiteY94" fmla="*/ 49482 h 227766"/>
                <a:gd name="connsiteX95" fmla="*/ 31469 w 327509"/>
                <a:gd name="connsiteY95" fmla="*/ 50433 h 227766"/>
                <a:gd name="connsiteX96" fmla="*/ 21950 w 327509"/>
                <a:gd name="connsiteY96" fmla="*/ 49482 h 227766"/>
                <a:gd name="connsiteX97" fmla="*/ 19094 w 327509"/>
                <a:gd name="connsiteY97" fmla="*/ 50433 h 227766"/>
                <a:gd name="connsiteX98" fmla="*/ 16239 w 327509"/>
                <a:gd name="connsiteY98" fmla="*/ 50433 h 227766"/>
                <a:gd name="connsiteX99" fmla="*/ 20998 w 327509"/>
                <a:gd name="connsiteY99" fmla="*/ 49482 h 227766"/>
                <a:gd name="connsiteX100" fmla="*/ 16239 w 327509"/>
                <a:gd name="connsiteY100" fmla="*/ 48530 h 227766"/>
                <a:gd name="connsiteX101" fmla="*/ 10527 w 327509"/>
                <a:gd name="connsiteY101" fmla="*/ 49482 h 227766"/>
                <a:gd name="connsiteX102" fmla="*/ 7672 w 327509"/>
                <a:gd name="connsiteY102" fmla="*/ 48530 h 227766"/>
                <a:gd name="connsiteX103" fmla="*/ 5768 w 327509"/>
                <a:gd name="connsiteY103" fmla="*/ 49482 h 227766"/>
                <a:gd name="connsiteX104" fmla="*/ 9575 w 327509"/>
                <a:gd name="connsiteY104" fmla="*/ 51385 h 227766"/>
                <a:gd name="connsiteX105" fmla="*/ 4816 w 327509"/>
                <a:gd name="connsiteY105" fmla="*/ 51385 h 227766"/>
                <a:gd name="connsiteX106" fmla="*/ 4816 w 327509"/>
                <a:gd name="connsiteY106" fmla="*/ 52336 h 227766"/>
                <a:gd name="connsiteX107" fmla="*/ 1008 w 327509"/>
                <a:gd name="connsiteY107" fmla="*/ 52336 h 227766"/>
                <a:gd name="connsiteX108" fmla="*/ 1960 w 327509"/>
                <a:gd name="connsiteY108" fmla="*/ 52336 h 227766"/>
                <a:gd name="connsiteX109" fmla="*/ 9575 w 327509"/>
                <a:gd name="connsiteY109" fmla="*/ 47578 h 227766"/>
                <a:gd name="connsiteX110" fmla="*/ 56 w 327509"/>
                <a:gd name="connsiteY110" fmla="*/ 52336 h 227766"/>
                <a:gd name="connsiteX111" fmla="*/ 1008 w 327509"/>
                <a:gd name="connsiteY111" fmla="*/ 54239 h 227766"/>
                <a:gd name="connsiteX112" fmla="*/ 1960 w 327509"/>
                <a:gd name="connsiteY112" fmla="*/ 53288 h 227766"/>
                <a:gd name="connsiteX113" fmla="*/ 3864 w 327509"/>
                <a:gd name="connsiteY113" fmla="*/ 55191 h 227766"/>
                <a:gd name="connsiteX114" fmla="*/ 9575 w 327509"/>
                <a:gd name="connsiteY114" fmla="*/ 50433 h 227766"/>
                <a:gd name="connsiteX115" fmla="*/ 10527 w 327509"/>
                <a:gd name="connsiteY115" fmla="*/ 50433 h 227766"/>
                <a:gd name="connsiteX116" fmla="*/ 5768 w 327509"/>
                <a:gd name="connsiteY116" fmla="*/ 51385 h 227766"/>
                <a:gd name="connsiteX117" fmla="*/ 2912 w 327509"/>
                <a:gd name="connsiteY117" fmla="*/ 53288 h 227766"/>
                <a:gd name="connsiteX118" fmla="*/ 2912 w 327509"/>
                <a:gd name="connsiteY118" fmla="*/ 53288 h 227766"/>
                <a:gd name="connsiteX119" fmla="*/ 1008 w 327509"/>
                <a:gd name="connsiteY119" fmla="*/ 54239 h 227766"/>
                <a:gd name="connsiteX120" fmla="*/ 3864 w 327509"/>
                <a:gd name="connsiteY120" fmla="*/ 61852 h 227766"/>
                <a:gd name="connsiteX121" fmla="*/ 7672 w 327509"/>
                <a:gd name="connsiteY121" fmla="*/ 59949 h 227766"/>
                <a:gd name="connsiteX122" fmla="*/ 11479 w 327509"/>
                <a:gd name="connsiteY122" fmla="*/ 61852 h 227766"/>
                <a:gd name="connsiteX123" fmla="*/ 12431 w 327509"/>
                <a:gd name="connsiteY123" fmla="*/ 60900 h 227766"/>
                <a:gd name="connsiteX124" fmla="*/ 15287 w 327509"/>
                <a:gd name="connsiteY124" fmla="*/ 61852 h 227766"/>
                <a:gd name="connsiteX125" fmla="*/ 19094 w 327509"/>
                <a:gd name="connsiteY125" fmla="*/ 61852 h 227766"/>
                <a:gd name="connsiteX126" fmla="*/ 20046 w 327509"/>
                <a:gd name="connsiteY126" fmla="*/ 60900 h 227766"/>
                <a:gd name="connsiteX127" fmla="*/ 27661 w 327509"/>
                <a:gd name="connsiteY127" fmla="*/ 60900 h 227766"/>
                <a:gd name="connsiteX128" fmla="*/ 29565 w 327509"/>
                <a:gd name="connsiteY128" fmla="*/ 63755 h 227766"/>
                <a:gd name="connsiteX129" fmla="*/ 26709 w 327509"/>
                <a:gd name="connsiteY129" fmla="*/ 61852 h 227766"/>
                <a:gd name="connsiteX130" fmla="*/ 22902 w 327509"/>
                <a:gd name="connsiteY130" fmla="*/ 63755 h 227766"/>
                <a:gd name="connsiteX131" fmla="*/ 28613 w 327509"/>
                <a:gd name="connsiteY131" fmla="*/ 63755 h 227766"/>
                <a:gd name="connsiteX132" fmla="*/ 28613 w 327509"/>
                <a:gd name="connsiteY132" fmla="*/ 63755 h 227766"/>
                <a:gd name="connsiteX133" fmla="*/ 35277 w 327509"/>
                <a:gd name="connsiteY133" fmla="*/ 63755 h 227766"/>
                <a:gd name="connsiteX134" fmla="*/ 34325 w 327509"/>
                <a:gd name="connsiteY134" fmla="*/ 64707 h 227766"/>
                <a:gd name="connsiteX135" fmla="*/ 37180 w 327509"/>
                <a:gd name="connsiteY135" fmla="*/ 64707 h 227766"/>
                <a:gd name="connsiteX136" fmla="*/ 37180 w 327509"/>
                <a:gd name="connsiteY136" fmla="*/ 63755 h 227766"/>
                <a:gd name="connsiteX137" fmla="*/ 40036 w 327509"/>
                <a:gd name="connsiteY137" fmla="*/ 63755 h 227766"/>
                <a:gd name="connsiteX138" fmla="*/ 52411 w 327509"/>
                <a:gd name="connsiteY138" fmla="*/ 59949 h 227766"/>
                <a:gd name="connsiteX139" fmla="*/ 56218 w 327509"/>
                <a:gd name="connsiteY139" fmla="*/ 59949 h 227766"/>
                <a:gd name="connsiteX140" fmla="*/ 42892 w 327509"/>
                <a:gd name="connsiteY140" fmla="*/ 63755 h 227766"/>
                <a:gd name="connsiteX141" fmla="*/ 62882 w 327509"/>
                <a:gd name="connsiteY141" fmla="*/ 58997 h 227766"/>
                <a:gd name="connsiteX142" fmla="*/ 64785 w 327509"/>
                <a:gd name="connsiteY142" fmla="*/ 58046 h 227766"/>
                <a:gd name="connsiteX143" fmla="*/ 65737 w 327509"/>
                <a:gd name="connsiteY143" fmla="*/ 59949 h 227766"/>
                <a:gd name="connsiteX144" fmla="*/ 65737 w 327509"/>
                <a:gd name="connsiteY144" fmla="*/ 59949 h 227766"/>
                <a:gd name="connsiteX145" fmla="*/ 67641 w 327509"/>
                <a:gd name="connsiteY145" fmla="*/ 60900 h 227766"/>
                <a:gd name="connsiteX146" fmla="*/ 79064 w 327509"/>
                <a:gd name="connsiteY146" fmla="*/ 58046 h 227766"/>
                <a:gd name="connsiteX147" fmla="*/ 75256 w 327509"/>
                <a:gd name="connsiteY147" fmla="*/ 60900 h 227766"/>
                <a:gd name="connsiteX148" fmla="*/ 75256 w 327509"/>
                <a:gd name="connsiteY148" fmla="*/ 60900 h 227766"/>
                <a:gd name="connsiteX149" fmla="*/ 73353 w 327509"/>
                <a:gd name="connsiteY149" fmla="*/ 61852 h 227766"/>
                <a:gd name="connsiteX150" fmla="*/ 79064 w 327509"/>
                <a:gd name="connsiteY150" fmla="*/ 60900 h 227766"/>
                <a:gd name="connsiteX151" fmla="*/ 80016 w 327509"/>
                <a:gd name="connsiteY151" fmla="*/ 60900 h 227766"/>
                <a:gd name="connsiteX152" fmla="*/ 80016 w 327509"/>
                <a:gd name="connsiteY152" fmla="*/ 60900 h 227766"/>
                <a:gd name="connsiteX153" fmla="*/ 80968 w 327509"/>
                <a:gd name="connsiteY153" fmla="*/ 61852 h 227766"/>
                <a:gd name="connsiteX154" fmla="*/ 80968 w 327509"/>
                <a:gd name="connsiteY154" fmla="*/ 61852 h 227766"/>
                <a:gd name="connsiteX155" fmla="*/ 93342 w 327509"/>
                <a:gd name="connsiteY155" fmla="*/ 59949 h 227766"/>
                <a:gd name="connsiteX156" fmla="*/ 94294 w 327509"/>
                <a:gd name="connsiteY156" fmla="*/ 58997 h 227766"/>
                <a:gd name="connsiteX157" fmla="*/ 105717 w 327509"/>
                <a:gd name="connsiteY157" fmla="*/ 58997 h 227766"/>
                <a:gd name="connsiteX158" fmla="*/ 104765 w 327509"/>
                <a:gd name="connsiteY158" fmla="*/ 57094 h 227766"/>
                <a:gd name="connsiteX159" fmla="*/ 107621 w 327509"/>
                <a:gd name="connsiteY159" fmla="*/ 57094 h 227766"/>
                <a:gd name="connsiteX160" fmla="*/ 111429 w 327509"/>
                <a:gd name="connsiteY160" fmla="*/ 60900 h 227766"/>
                <a:gd name="connsiteX161" fmla="*/ 116188 w 327509"/>
                <a:gd name="connsiteY161" fmla="*/ 60900 h 227766"/>
                <a:gd name="connsiteX162" fmla="*/ 119044 w 327509"/>
                <a:gd name="connsiteY162" fmla="*/ 58997 h 227766"/>
                <a:gd name="connsiteX163" fmla="*/ 123803 w 327509"/>
                <a:gd name="connsiteY163" fmla="*/ 58997 h 227766"/>
                <a:gd name="connsiteX164" fmla="*/ 123803 w 327509"/>
                <a:gd name="connsiteY164" fmla="*/ 60900 h 227766"/>
                <a:gd name="connsiteX165" fmla="*/ 131418 w 327509"/>
                <a:gd name="connsiteY165" fmla="*/ 60900 h 227766"/>
                <a:gd name="connsiteX166" fmla="*/ 138082 w 327509"/>
                <a:gd name="connsiteY166" fmla="*/ 58046 h 227766"/>
                <a:gd name="connsiteX167" fmla="*/ 139034 w 327509"/>
                <a:gd name="connsiteY167" fmla="*/ 58997 h 22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27509" h="227766">
                  <a:moveTo>
                    <a:pt x="139034" y="58997"/>
                  </a:moveTo>
                  <a:lnTo>
                    <a:pt x="141889" y="58997"/>
                  </a:lnTo>
                  <a:cubicBezTo>
                    <a:pt x="133322" y="60900"/>
                    <a:pt x="124755" y="60900"/>
                    <a:pt x="116188" y="61852"/>
                  </a:cubicBezTo>
                  <a:cubicBezTo>
                    <a:pt x="135226" y="63755"/>
                    <a:pt x="158072" y="63755"/>
                    <a:pt x="170446" y="51385"/>
                  </a:cubicBezTo>
                  <a:cubicBezTo>
                    <a:pt x="173302" y="56143"/>
                    <a:pt x="191388" y="55191"/>
                    <a:pt x="191388" y="54239"/>
                  </a:cubicBezTo>
                  <a:cubicBezTo>
                    <a:pt x="195196" y="52336"/>
                    <a:pt x="199003" y="51385"/>
                    <a:pt x="201859" y="50433"/>
                  </a:cubicBezTo>
                  <a:cubicBezTo>
                    <a:pt x="199003" y="51385"/>
                    <a:pt x="197100" y="52336"/>
                    <a:pt x="194244" y="53288"/>
                  </a:cubicBezTo>
                  <a:cubicBezTo>
                    <a:pt x="197100" y="52336"/>
                    <a:pt x="199003" y="51385"/>
                    <a:pt x="201859" y="50433"/>
                  </a:cubicBezTo>
                  <a:cubicBezTo>
                    <a:pt x="204715" y="49482"/>
                    <a:pt x="207570" y="48530"/>
                    <a:pt x="210426" y="47578"/>
                  </a:cubicBezTo>
                  <a:cubicBezTo>
                    <a:pt x="213282" y="46627"/>
                    <a:pt x="217089" y="45675"/>
                    <a:pt x="218041" y="45675"/>
                  </a:cubicBezTo>
                  <a:cubicBezTo>
                    <a:pt x="219945" y="44724"/>
                    <a:pt x="222801" y="44724"/>
                    <a:pt x="224705" y="43772"/>
                  </a:cubicBezTo>
                  <a:cubicBezTo>
                    <a:pt x="228512" y="42821"/>
                    <a:pt x="231368" y="43772"/>
                    <a:pt x="231368" y="44724"/>
                  </a:cubicBezTo>
                  <a:lnTo>
                    <a:pt x="231368" y="44724"/>
                  </a:lnTo>
                  <a:cubicBezTo>
                    <a:pt x="231368" y="44724"/>
                    <a:pt x="232320" y="44724"/>
                    <a:pt x="230416" y="45675"/>
                  </a:cubicBezTo>
                  <a:cubicBezTo>
                    <a:pt x="228512" y="46627"/>
                    <a:pt x="227560" y="47578"/>
                    <a:pt x="225657" y="48530"/>
                  </a:cubicBezTo>
                  <a:cubicBezTo>
                    <a:pt x="222801" y="50433"/>
                    <a:pt x="220897" y="51385"/>
                    <a:pt x="219945" y="51385"/>
                  </a:cubicBezTo>
                  <a:lnTo>
                    <a:pt x="218993" y="51385"/>
                  </a:lnTo>
                  <a:cubicBezTo>
                    <a:pt x="219945" y="51385"/>
                    <a:pt x="219945" y="51385"/>
                    <a:pt x="219945" y="51385"/>
                  </a:cubicBezTo>
                  <a:cubicBezTo>
                    <a:pt x="220897" y="51385"/>
                    <a:pt x="220897" y="52336"/>
                    <a:pt x="220897" y="53288"/>
                  </a:cubicBezTo>
                  <a:lnTo>
                    <a:pt x="220897" y="53288"/>
                  </a:lnTo>
                  <a:lnTo>
                    <a:pt x="219945" y="54239"/>
                  </a:lnTo>
                  <a:lnTo>
                    <a:pt x="218041" y="56143"/>
                  </a:lnTo>
                  <a:cubicBezTo>
                    <a:pt x="216138" y="58046"/>
                    <a:pt x="215186" y="58997"/>
                    <a:pt x="213282" y="60900"/>
                  </a:cubicBezTo>
                  <a:cubicBezTo>
                    <a:pt x="215186" y="60900"/>
                    <a:pt x="215186" y="60900"/>
                    <a:pt x="218993" y="59949"/>
                  </a:cubicBezTo>
                  <a:lnTo>
                    <a:pt x="215186" y="61852"/>
                  </a:lnTo>
                  <a:cubicBezTo>
                    <a:pt x="213282" y="65658"/>
                    <a:pt x="206619" y="71368"/>
                    <a:pt x="203763" y="75174"/>
                  </a:cubicBezTo>
                  <a:cubicBezTo>
                    <a:pt x="203763" y="74222"/>
                    <a:pt x="200907" y="76126"/>
                    <a:pt x="199003" y="77077"/>
                  </a:cubicBezTo>
                  <a:lnTo>
                    <a:pt x="199955" y="77077"/>
                  </a:lnTo>
                  <a:cubicBezTo>
                    <a:pt x="191388" y="83738"/>
                    <a:pt x="181869" y="92302"/>
                    <a:pt x="174254" y="98011"/>
                  </a:cubicBezTo>
                  <a:cubicBezTo>
                    <a:pt x="173302" y="98963"/>
                    <a:pt x="172350" y="98963"/>
                    <a:pt x="171398" y="98963"/>
                  </a:cubicBezTo>
                  <a:lnTo>
                    <a:pt x="164735" y="105624"/>
                  </a:lnTo>
                  <a:cubicBezTo>
                    <a:pt x="164735" y="103721"/>
                    <a:pt x="158072" y="109430"/>
                    <a:pt x="160927" y="105624"/>
                  </a:cubicBezTo>
                  <a:cubicBezTo>
                    <a:pt x="156168" y="111334"/>
                    <a:pt x="150456" y="115140"/>
                    <a:pt x="146649" y="120849"/>
                  </a:cubicBezTo>
                  <a:cubicBezTo>
                    <a:pt x="127611" y="136074"/>
                    <a:pt x="108573" y="153203"/>
                    <a:pt x="91439" y="170331"/>
                  </a:cubicBezTo>
                  <a:lnTo>
                    <a:pt x="92391" y="170331"/>
                  </a:lnTo>
                  <a:cubicBezTo>
                    <a:pt x="86679" y="176992"/>
                    <a:pt x="81920" y="183653"/>
                    <a:pt x="73353" y="189362"/>
                  </a:cubicBezTo>
                  <a:cubicBezTo>
                    <a:pt x="68593" y="196023"/>
                    <a:pt x="60978" y="203636"/>
                    <a:pt x="60978" y="207442"/>
                  </a:cubicBezTo>
                  <a:cubicBezTo>
                    <a:pt x="54315" y="213151"/>
                    <a:pt x="52411" y="216958"/>
                    <a:pt x="46699" y="222667"/>
                  </a:cubicBezTo>
                  <a:cubicBezTo>
                    <a:pt x="49555" y="222667"/>
                    <a:pt x="41940" y="229328"/>
                    <a:pt x="45747" y="227425"/>
                  </a:cubicBezTo>
                  <a:cubicBezTo>
                    <a:pt x="51459" y="225522"/>
                    <a:pt x="50507" y="223619"/>
                    <a:pt x="55266" y="221715"/>
                  </a:cubicBezTo>
                  <a:lnTo>
                    <a:pt x="55266" y="221715"/>
                  </a:lnTo>
                  <a:cubicBezTo>
                    <a:pt x="74304" y="209345"/>
                    <a:pt x="92391" y="196023"/>
                    <a:pt x="110477" y="182701"/>
                  </a:cubicBezTo>
                  <a:cubicBezTo>
                    <a:pt x="121899" y="172234"/>
                    <a:pt x="135226" y="162718"/>
                    <a:pt x="146649" y="152251"/>
                  </a:cubicBezTo>
                  <a:cubicBezTo>
                    <a:pt x="159024" y="140832"/>
                    <a:pt x="173302" y="128462"/>
                    <a:pt x="183773" y="118946"/>
                  </a:cubicBezTo>
                  <a:cubicBezTo>
                    <a:pt x="186629" y="116091"/>
                    <a:pt x="188532" y="116091"/>
                    <a:pt x="191388" y="114188"/>
                  </a:cubicBezTo>
                  <a:cubicBezTo>
                    <a:pt x="200907" y="105624"/>
                    <a:pt x="215186" y="95157"/>
                    <a:pt x="226608" y="84690"/>
                  </a:cubicBezTo>
                  <a:cubicBezTo>
                    <a:pt x="226608" y="84690"/>
                    <a:pt x="226608" y="84690"/>
                    <a:pt x="225657" y="84690"/>
                  </a:cubicBezTo>
                  <a:cubicBezTo>
                    <a:pt x="228512" y="81835"/>
                    <a:pt x="231368" y="79932"/>
                    <a:pt x="234224" y="78029"/>
                  </a:cubicBezTo>
                  <a:lnTo>
                    <a:pt x="238983" y="75174"/>
                  </a:lnTo>
                  <a:lnTo>
                    <a:pt x="240887" y="73271"/>
                  </a:lnTo>
                  <a:cubicBezTo>
                    <a:pt x="241839" y="72319"/>
                    <a:pt x="243743" y="71368"/>
                    <a:pt x="244695" y="70416"/>
                  </a:cubicBezTo>
                  <a:cubicBezTo>
                    <a:pt x="244695" y="70416"/>
                    <a:pt x="245646" y="68513"/>
                    <a:pt x="246598" y="68513"/>
                  </a:cubicBezTo>
                  <a:cubicBezTo>
                    <a:pt x="248502" y="68513"/>
                    <a:pt x="262781" y="55191"/>
                    <a:pt x="275155" y="43772"/>
                  </a:cubicBezTo>
                  <a:cubicBezTo>
                    <a:pt x="287530" y="32353"/>
                    <a:pt x="297049" y="22838"/>
                    <a:pt x="300857" y="20934"/>
                  </a:cubicBezTo>
                  <a:lnTo>
                    <a:pt x="302760" y="19031"/>
                  </a:lnTo>
                  <a:cubicBezTo>
                    <a:pt x="308472" y="15225"/>
                    <a:pt x="314183" y="10467"/>
                    <a:pt x="320847" y="5709"/>
                  </a:cubicBezTo>
                  <a:lnTo>
                    <a:pt x="325606" y="1903"/>
                  </a:lnTo>
                  <a:lnTo>
                    <a:pt x="326558" y="951"/>
                  </a:lnTo>
                  <a:lnTo>
                    <a:pt x="327510" y="0"/>
                  </a:lnTo>
                  <a:lnTo>
                    <a:pt x="325606" y="0"/>
                  </a:lnTo>
                  <a:cubicBezTo>
                    <a:pt x="323702" y="0"/>
                    <a:pt x="320847" y="0"/>
                    <a:pt x="318943" y="0"/>
                  </a:cubicBezTo>
                  <a:cubicBezTo>
                    <a:pt x="309424" y="951"/>
                    <a:pt x="298001" y="1903"/>
                    <a:pt x="285626" y="3806"/>
                  </a:cubicBezTo>
                  <a:cubicBezTo>
                    <a:pt x="278963" y="5709"/>
                    <a:pt x="271348" y="7612"/>
                    <a:pt x="265636" y="10467"/>
                  </a:cubicBezTo>
                  <a:cubicBezTo>
                    <a:pt x="262781" y="10467"/>
                    <a:pt x="259925" y="12370"/>
                    <a:pt x="255165" y="13322"/>
                  </a:cubicBezTo>
                  <a:cubicBezTo>
                    <a:pt x="251358" y="11419"/>
                    <a:pt x="246598" y="12370"/>
                    <a:pt x="244695" y="12370"/>
                  </a:cubicBezTo>
                  <a:cubicBezTo>
                    <a:pt x="241839" y="13322"/>
                    <a:pt x="240887" y="14274"/>
                    <a:pt x="243743" y="14274"/>
                  </a:cubicBezTo>
                  <a:cubicBezTo>
                    <a:pt x="233272" y="17128"/>
                    <a:pt x="224705" y="18080"/>
                    <a:pt x="216138" y="19983"/>
                  </a:cubicBezTo>
                  <a:lnTo>
                    <a:pt x="213282" y="20934"/>
                  </a:lnTo>
                  <a:lnTo>
                    <a:pt x="211378" y="21886"/>
                  </a:lnTo>
                  <a:cubicBezTo>
                    <a:pt x="210426" y="21886"/>
                    <a:pt x="208522" y="22838"/>
                    <a:pt x="207570" y="22838"/>
                  </a:cubicBezTo>
                  <a:cubicBezTo>
                    <a:pt x="205667" y="23789"/>
                    <a:pt x="203763" y="22838"/>
                    <a:pt x="202811" y="22838"/>
                  </a:cubicBezTo>
                  <a:cubicBezTo>
                    <a:pt x="197100" y="24741"/>
                    <a:pt x="199003" y="22838"/>
                    <a:pt x="192340" y="23789"/>
                  </a:cubicBezTo>
                  <a:cubicBezTo>
                    <a:pt x="190436" y="22838"/>
                    <a:pt x="178062" y="28547"/>
                    <a:pt x="176158" y="28547"/>
                  </a:cubicBezTo>
                  <a:lnTo>
                    <a:pt x="177110" y="28547"/>
                  </a:lnTo>
                  <a:cubicBezTo>
                    <a:pt x="170446" y="29499"/>
                    <a:pt x="165687" y="27595"/>
                    <a:pt x="159024" y="28547"/>
                  </a:cubicBezTo>
                  <a:cubicBezTo>
                    <a:pt x="139986" y="30450"/>
                    <a:pt x="119996" y="35208"/>
                    <a:pt x="102861" y="37111"/>
                  </a:cubicBezTo>
                  <a:cubicBezTo>
                    <a:pt x="102861" y="39014"/>
                    <a:pt x="106669" y="36160"/>
                    <a:pt x="106669" y="38063"/>
                  </a:cubicBezTo>
                  <a:cubicBezTo>
                    <a:pt x="96198" y="39014"/>
                    <a:pt x="85727" y="39014"/>
                    <a:pt x="76208" y="39966"/>
                  </a:cubicBezTo>
                  <a:cubicBezTo>
                    <a:pt x="74304" y="39966"/>
                    <a:pt x="72401" y="39014"/>
                    <a:pt x="71449" y="39014"/>
                  </a:cubicBezTo>
                  <a:cubicBezTo>
                    <a:pt x="68593" y="39014"/>
                    <a:pt x="69545" y="39966"/>
                    <a:pt x="67641" y="39966"/>
                  </a:cubicBezTo>
                  <a:lnTo>
                    <a:pt x="66689" y="39014"/>
                  </a:lnTo>
                  <a:cubicBezTo>
                    <a:pt x="62882" y="40917"/>
                    <a:pt x="60978" y="38063"/>
                    <a:pt x="58122" y="39014"/>
                  </a:cubicBezTo>
                  <a:cubicBezTo>
                    <a:pt x="58122" y="39966"/>
                    <a:pt x="57170" y="39966"/>
                    <a:pt x="55266" y="39966"/>
                  </a:cubicBezTo>
                  <a:cubicBezTo>
                    <a:pt x="55266" y="39014"/>
                    <a:pt x="51459" y="40917"/>
                    <a:pt x="51459" y="39014"/>
                  </a:cubicBezTo>
                  <a:lnTo>
                    <a:pt x="51459" y="39014"/>
                  </a:lnTo>
                  <a:cubicBezTo>
                    <a:pt x="50507" y="39014"/>
                    <a:pt x="50507" y="39014"/>
                    <a:pt x="49555" y="39014"/>
                  </a:cubicBezTo>
                  <a:cubicBezTo>
                    <a:pt x="48603" y="39966"/>
                    <a:pt x="36228" y="44724"/>
                    <a:pt x="35277" y="45675"/>
                  </a:cubicBezTo>
                  <a:lnTo>
                    <a:pt x="34325" y="45675"/>
                  </a:lnTo>
                  <a:cubicBezTo>
                    <a:pt x="32421" y="45675"/>
                    <a:pt x="31469" y="46627"/>
                    <a:pt x="32421" y="47578"/>
                  </a:cubicBezTo>
                  <a:lnTo>
                    <a:pt x="30517" y="47578"/>
                  </a:lnTo>
                  <a:lnTo>
                    <a:pt x="30517" y="47578"/>
                  </a:lnTo>
                  <a:lnTo>
                    <a:pt x="28613" y="47578"/>
                  </a:lnTo>
                  <a:cubicBezTo>
                    <a:pt x="28613" y="47578"/>
                    <a:pt x="27661" y="46627"/>
                    <a:pt x="28613" y="46627"/>
                  </a:cubicBezTo>
                  <a:cubicBezTo>
                    <a:pt x="27661" y="47578"/>
                    <a:pt x="25758" y="47578"/>
                    <a:pt x="24806" y="47578"/>
                  </a:cubicBezTo>
                  <a:cubicBezTo>
                    <a:pt x="28613" y="48530"/>
                    <a:pt x="33373" y="48530"/>
                    <a:pt x="37180" y="49482"/>
                  </a:cubicBezTo>
                  <a:cubicBezTo>
                    <a:pt x="35277" y="50433"/>
                    <a:pt x="32421" y="49482"/>
                    <a:pt x="31469" y="50433"/>
                  </a:cubicBezTo>
                  <a:cubicBezTo>
                    <a:pt x="29565" y="49482"/>
                    <a:pt x="24806" y="49482"/>
                    <a:pt x="21950" y="49482"/>
                  </a:cubicBezTo>
                  <a:cubicBezTo>
                    <a:pt x="20998" y="49482"/>
                    <a:pt x="20998" y="51385"/>
                    <a:pt x="19094" y="50433"/>
                  </a:cubicBezTo>
                  <a:cubicBezTo>
                    <a:pt x="18142" y="49482"/>
                    <a:pt x="17191" y="50433"/>
                    <a:pt x="16239" y="50433"/>
                  </a:cubicBezTo>
                  <a:cubicBezTo>
                    <a:pt x="18142" y="49482"/>
                    <a:pt x="19094" y="49482"/>
                    <a:pt x="20998" y="49482"/>
                  </a:cubicBezTo>
                  <a:cubicBezTo>
                    <a:pt x="20998" y="48530"/>
                    <a:pt x="17191" y="48530"/>
                    <a:pt x="16239" y="48530"/>
                  </a:cubicBezTo>
                  <a:cubicBezTo>
                    <a:pt x="15287" y="48530"/>
                    <a:pt x="12431" y="48530"/>
                    <a:pt x="10527" y="49482"/>
                  </a:cubicBezTo>
                  <a:cubicBezTo>
                    <a:pt x="11479" y="48530"/>
                    <a:pt x="8623" y="48530"/>
                    <a:pt x="7672" y="48530"/>
                  </a:cubicBezTo>
                  <a:cubicBezTo>
                    <a:pt x="6720" y="48530"/>
                    <a:pt x="5768" y="49482"/>
                    <a:pt x="5768" y="49482"/>
                  </a:cubicBezTo>
                  <a:cubicBezTo>
                    <a:pt x="5768" y="50433"/>
                    <a:pt x="10527" y="49482"/>
                    <a:pt x="9575" y="51385"/>
                  </a:cubicBezTo>
                  <a:cubicBezTo>
                    <a:pt x="8623" y="50433"/>
                    <a:pt x="6720" y="51385"/>
                    <a:pt x="4816" y="51385"/>
                  </a:cubicBezTo>
                  <a:cubicBezTo>
                    <a:pt x="4816" y="52336"/>
                    <a:pt x="5768" y="52336"/>
                    <a:pt x="4816" y="52336"/>
                  </a:cubicBezTo>
                  <a:cubicBezTo>
                    <a:pt x="2912" y="52336"/>
                    <a:pt x="1960" y="53288"/>
                    <a:pt x="1008" y="52336"/>
                  </a:cubicBezTo>
                  <a:lnTo>
                    <a:pt x="1960" y="52336"/>
                  </a:lnTo>
                  <a:cubicBezTo>
                    <a:pt x="56" y="52336"/>
                    <a:pt x="12431" y="46627"/>
                    <a:pt x="9575" y="47578"/>
                  </a:cubicBezTo>
                  <a:cubicBezTo>
                    <a:pt x="10527" y="48530"/>
                    <a:pt x="-896" y="53288"/>
                    <a:pt x="56" y="52336"/>
                  </a:cubicBezTo>
                  <a:cubicBezTo>
                    <a:pt x="1008" y="52336"/>
                    <a:pt x="-896" y="53288"/>
                    <a:pt x="1008" y="54239"/>
                  </a:cubicBezTo>
                  <a:lnTo>
                    <a:pt x="1960" y="53288"/>
                  </a:lnTo>
                  <a:cubicBezTo>
                    <a:pt x="3864" y="53288"/>
                    <a:pt x="4816" y="54239"/>
                    <a:pt x="3864" y="55191"/>
                  </a:cubicBezTo>
                  <a:cubicBezTo>
                    <a:pt x="1008" y="55191"/>
                    <a:pt x="11479" y="49482"/>
                    <a:pt x="9575" y="50433"/>
                  </a:cubicBezTo>
                  <a:lnTo>
                    <a:pt x="10527" y="50433"/>
                  </a:lnTo>
                  <a:cubicBezTo>
                    <a:pt x="9575" y="51385"/>
                    <a:pt x="6720" y="51385"/>
                    <a:pt x="5768" y="51385"/>
                  </a:cubicBezTo>
                  <a:cubicBezTo>
                    <a:pt x="5768" y="52336"/>
                    <a:pt x="4816" y="52336"/>
                    <a:pt x="2912" y="53288"/>
                  </a:cubicBezTo>
                  <a:lnTo>
                    <a:pt x="2912" y="53288"/>
                  </a:lnTo>
                  <a:cubicBezTo>
                    <a:pt x="1960" y="53288"/>
                    <a:pt x="56" y="53288"/>
                    <a:pt x="1008" y="54239"/>
                  </a:cubicBezTo>
                  <a:cubicBezTo>
                    <a:pt x="7672" y="53288"/>
                    <a:pt x="-2799" y="61852"/>
                    <a:pt x="3864" y="61852"/>
                  </a:cubicBezTo>
                  <a:cubicBezTo>
                    <a:pt x="1008" y="60900"/>
                    <a:pt x="4816" y="59949"/>
                    <a:pt x="7672" y="59949"/>
                  </a:cubicBezTo>
                  <a:cubicBezTo>
                    <a:pt x="7672" y="60900"/>
                    <a:pt x="9575" y="60900"/>
                    <a:pt x="11479" y="61852"/>
                  </a:cubicBezTo>
                  <a:cubicBezTo>
                    <a:pt x="13383" y="61852"/>
                    <a:pt x="12431" y="60900"/>
                    <a:pt x="12431" y="60900"/>
                  </a:cubicBezTo>
                  <a:cubicBezTo>
                    <a:pt x="13383" y="60900"/>
                    <a:pt x="15287" y="60900"/>
                    <a:pt x="15287" y="61852"/>
                  </a:cubicBezTo>
                  <a:cubicBezTo>
                    <a:pt x="16239" y="60900"/>
                    <a:pt x="17191" y="61852"/>
                    <a:pt x="19094" y="61852"/>
                  </a:cubicBezTo>
                  <a:cubicBezTo>
                    <a:pt x="20998" y="60900"/>
                    <a:pt x="19094" y="61852"/>
                    <a:pt x="20046" y="60900"/>
                  </a:cubicBezTo>
                  <a:cubicBezTo>
                    <a:pt x="21950" y="60900"/>
                    <a:pt x="25758" y="60900"/>
                    <a:pt x="27661" y="60900"/>
                  </a:cubicBezTo>
                  <a:cubicBezTo>
                    <a:pt x="28613" y="61852"/>
                    <a:pt x="30517" y="62803"/>
                    <a:pt x="29565" y="63755"/>
                  </a:cubicBezTo>
                  <a:cubicBezTo>
                    <a:pt x="25758" y="63755"/>
                    <a:pt x="30517" y="61852"/>
                    <a:pt x="26709" y="61852"/>
                  </a:cubicBezTo>
                  <a:cubicBezTo>
                    <a:pt x="28613" y="63755"/>
                    <a:pt x="23854" y="62803"/>
                    <a:pt x="22902" y="63755"/>
                  </a:cubicBezTo>
                  <a:cubicBezTo>
                    <a:pt x="23854" y="64707"/>
                    <a:pt x="26709" y="63755"/>
                    <a:pt x="28613" y="63755"/>
                  </a:cubicBezTo>
                  <a:lnTo>
                    <a:pt x="28613" y="63755"/>
                  </a:lnTo>
                  <a:cubicBezTo>
                    <a:pt x="30517" y="63755"/>
                    <a:pt x="33373" y="62803"/>
                    <a:pt x="35277" y="63755"/>
                  </a:cubicBezTo>
                  <a:cubicBezTo>
                    <a:pt x="35277" y="64707"/>
                    <a:pt x="36228" y="64707"/>
                    <a:pt x="34325" y="64707"/>
                  </a:cubicBezTo>
                  <a:lnTo>
                    <a:pt x="37180" y="64707"/>
                  </a:lnTo>
                  <a:cubicBezTo>
                    <a:pt x="37180" y="64707"/>
                    <a:pt x="38132" y="64707"/>
                    <a:pt x="37180" y="63755"/>
                  </a:cubicBezTo>
                  <a:cubicBezTo>
                    <a:pt x="38132" y="62803"/>
                    <a:pt x="39084" y="63755"/>
                    <a:pt x="40036" y="63755"/>
                  </a:cubicBezTo>
                  <a:cubicBezTo>
                    <a:pt x="40036" y="64707"/>
                    <a:pt x="52411" y="58997"/>
                    <a:pt x="52411" y="59949"/>
                  </a:cubicBezTo>
                  <a:cubicBezTo>
                    <a:pt x="54315" y="59949"/>
                    <a:pt x="54315" y="60900"/>
                    <a:pt x="56218" y="59949"/>
                  </a:cubicBezTo>
                  <a:cubicBezTo>
                    <a:pt x="56218" y="58997"/>
                    <a:pt x="40036" y="63755"/>
                    <a:pt x="42892" y="63755"/>
                  </a:cubicBezTo>
                  <a:cubicBezTo>
                    <a:pt x="44796" y="64707"/>
                    <a:pt x="61930" y="58046"/>
                    <a:pt x="62882" y="58997"/>
                  </a:cubicBezTo>
                  <a:cubicBezTo>
                    <a:pt x="63834" y="58997"/>
                    <a:pt x="65737" y="58046"/>
                    <a:pt x="64785" y="58046"/>
                  </a:cubicBezTo>
                  <a:cubicBezTo>
                    <a:pt x="66689" y="58046"/>
                    <a:pt x="64785" y="58997"/>
                    <a:pt x="65737" y="59949"/>
                  </a:cubicBezTo>
                  <a:lnTo>
                    <a:pt x="65737" y="59949"/>
                  </a:lnTo>
                  <a:lnTo>
                    <a:pt x="67641" y="60900"/>
                  </a:lnTo>
                  <a:cubicBezTo>
                    <a:pt x="70497" y="58997"/>
                    <a:pt x="76208" y="59949"/>
                    <a:pt x="79064" y="58046"/>
                  </a:cubicBezTo>
                  <a:cubicBezTo>
                    <a:pt x="78112" y="58997"/>
                    <a:pt x="77160" y="59949"/>
                    <a:pt x="75256" y="60900"/>
                  </a:cubicBezTo>
                  <a:lnTo>
                    <a:pt x="75256" y="60900"/>
                  </a:lnTo>
                  <a:lnTo>
                    <a:pt x="73353" y="61852"/>
                  </a:lnTo>
                  <a:cubicBezTo>
                    <a:pt x="75256" y="61852"/>
                    <a:pt x="77160" y="61852"/>
                    <a:pt x="79064" y="60900"/>
                  </a:cubicBezTo>
                  <a:lnTo>
                    <a:pt x="80016" y="60900"/>
                  </a:lnTo>
                  <a:lnTo>
                    <a:pt x="80016" y="60900"/>
                  </a:lnTo>
                  <a:cubicBezTo>
                    <a:pt x="80968" y="60900"/>
                    <a:pt x="80968" y="60900"/>
                    <a:pt x="80968" y="61852"/>
                  </a:cubicBezTo>
                  <a:lnTo>
                    <a:pt x="80968" y="61852"/>
                  </a:lnTo>
                  <a:cubicBezTo>
                    <a:pt x="82872" y="63755"/>
                    <a:pt x="89535" y="58997"/>
                    <a:pt x="93342" y="59949"/>
                  </a:cubicBezTo>
                  <a:cubicBezTo>
                    <a:pt x="94294" y="59949"/>
                    <a:pt x="93342" y="59949"/>
                    <a:pt x="94294" y="58997"/>
                  </a:cubicBezTo>
                  <a:cubicBezTo>
                    <a:pt x="98102" y="58997"/>
                    <a:pt x="100958" y="58997"/>
                    <a:pt x="105717" y="58997"/>
                  </a:cubicBezTo>
                  <a:cubicBezTo>
                    <a:pt x="106669" y="58046"/>
                    <a:pt x="106669" y="58046"/>
                    <a:pt x="104765" y="57094"/>
                  </a:cubicBezTo>
                  <a:lnTo>
                    <a:pt x="107621" y="57094"/>
                  </a:lnTo>
                  <a:cubicBezTo>
                    <a:pt x="104765" y="59949"/>
                    <a:pt x="113332" y="58046"/>
                    <a:pt x="111429" y="60900"/>
                  </a:cubicBezTo>
                  <a:cubicBezTo>
                    <a:pt x="112380" y="60900"/>
                    <a:pt x="114284" y="60900"/>
                    <a:pt x="116188" y="60900"/>
                  </a:cubicBezTo>
                  <a:cubicBezTo>
                    <a:pt x="116188" y="59949"/>
                    <a:pt x="116188" y="58997"/>
                    <a:pt x="119044" y="58997"/>
                  </a:cubicBezTo>
                  <a:cubicBezTo>
                    <a:pt x="121899" y="58997"/>
                    <a:pt x="121899" y="58997"/>
                    <a:pt x="123803" y="58997"/>
                  </a:cubicBezTo>
                  <a:cubicBezTo>
                    <a:pt x="124755" y="59949"/>
                    <a:pt x="123803" y="59949"/>
                    <a:pt x="123803" y="60900"/>
                  </a:cubicBezTo>
                  <a:cubicBezTo>
                    <a:pt x="127611" y="58997"/>
                    <a:pt x="127611" y="61852"/>
                    <a:pt x="131418" y="60900"/>
                  </a:cubicBezTo>
                  <a:cubicBezTo>
                    <a:pt x="133322" y="59949"/>
                    <a:pt x="138082" y="59949"/>
                    <a:pt x="138082" y="58046"/>
                  </a:cubicBezTo>
                  <a:cubicBezTo>
                    <a:pt x="139034" y="57094"/>
                    <a:pt x="139034" y="58046"/>
                    <a:pt x="139034" y="58997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25899595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udendørs, bænk, sidder&#10;&#10;Automatisk genereret beskrivelse">
            <a:extLst>
              <a:ext uri="{FF2B5EF4-FFF2-40B4-BE49-F238E27FC236}">
                <a16:creationId xmlns:a16="http://schemas.microsoft.com/office/drawing/2014/main" id="{731A862E-C8E1-AF42-92F3-C4898253E1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735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indendørs, person, barn, sidder&#10;&#10;Automatisk genereret beskrivelse">
            <a:extLst>
              <a:ext uri="{FF2B5EF4-FFF2-40B4-BE49-F238E27FC236}">
                <a16:creationId xmlns:a16="http://schemas.microsoft.com/office/drawing/2014/main" id="{7FC025C4-3C51-2A45-9719-DDD2CC92AC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2FB2E0C-BE4C-8B44-9153-E69F14E128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D64F0D3D-51BD-EB4A-AF54-E0CD9509F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232136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araply, person, tilbehør, opbevarer&#10;&#10;Automatisk genereret beskrivelse">
            <a:extLst>
              <a:ext uri="{FF2B5EF4-FFF2-40B4-BE49-F238E27FC236}">
                <a16:creationId xmlns:a16="http://schemas.microsoft.com/office/drawing/2014/main" id="{D11B5318-5D51-FF46-AFA4-AA3E8E7B22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3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D436AAE-0CC0-2842-B97D-F213D08176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C518AE99-3537-9048-8647-3EEBD7036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601502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græs, felt, får&#10;&#10;Automatisk genereret beskrivelse">
            <a:extLst>
              <a:ext uri="{FF2B5EF4-FFF2-40B4-BE49-F238E27FC236}">
                <a16:creationId xmlns:a16="http://schemas.microsoft.com/office/drawing/2014/main" id="{28037FDD-8966-5E47-91C2-1782A94194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CC8B7C6-4DC1-5C4E-B62C-454EEB2BB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8D615CE-0B75-DA4C-B19A-F75CC578C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496870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udendørs, græs, bjerg, mad&#10;&#10;Automatisk genereret beskrivelse">
            <a:extLst>
              <a:ext uri="{FF2B5EF4-FFF2-40B4-BE49-F238E27FC236}">
                <a16:creationId xmlns:a16="http://schemas.microsoft.com/office/drawing/2014/main" id="{0EA045AA-3339-604F-8EB8-940992657D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E53EFFB-2725-DF45-91C3-4FEDAFF8E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071EF88-57BE-7A41-922C-F13269FBA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7930912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bygning, hegn, by&#10;&#10;Automatisk genereret beskrivelse">
            <a:extLst>
              <a:ext uri="{FF2B5EF4-FFF2-40B4-BE49-F238E27FC236}">
                <a16:creationId xmlns:a16="http://schemas.microsoft.com/office/drawing/2014/main" id="{9605DD56-4AD4-7B47-96A1-120C1DF65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BE94C62-970B-4746-BEEC-26579458ED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7D4BF381-4455-B540-8DC5-812DBB345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652282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erson, udendørs, bygning, forbereder&#10;&#10;Automatisk genereret beskrivelse">
            <a:extLst>
              <a:ext uri="{FF2B5EF4-FFF2-40B4-BE49-F238E27FC236}">
                <a16:creationId xmlns:a16="http://schemas.microsoft.com/office/drawing/2014/main" id="{40209235-55F1-C34E-9B18-45E743DAE7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0AD2C0-AC1A-A542-B630-A0A9A232B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D545335C-C562-DA4D-AC43-5CCF4BE5D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391603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27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1036320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4375319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indendørs, opbevarer, afspiller&#10;&#10;Automatisk genereret beskrivelse">
            <a:extLst>
              <a:ext uri="{FF2B5EF4-FFF2-40B4-BE49-F238E27FC236}">
                <a16:creationId xmlns:a16="http://schemas.microsoft.com/office/drawing/2014/main" id="{86A135C5-411F-3647-B5F8-69AF5E9E1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2917017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3" name="Picture 3" descr="D:\Opgaver\EDC Marts 2020\Powerpointskabelon\billeder\ppt_billede_det_handler_om_at_gøre_sig_umage_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4052453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 descr="D:\Opgaver\EDC Marts 2020\Powerpointskabelon\billeder\ppt_billede_drone_by_frederiksber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520596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D:\Opgaver\EDC Marts 2020\Powerpointskabelon\billeder\ppt_billede_par_renover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968102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 descr="D:\Opgaver\EDC Marts 2020\Powerpointskabelon\billeder\ppt_billede_par_ud_af_vindu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199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923510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D:\Opgaver\EDC Marts 2020\Powerpointskabelon\billeder\ppt_billede_kvinde_i_lejlighe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0109088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D:\Opgaver\EDC Marts 2020\Powerpointskabelon\billeder\ppt_billede_familie_i_sommerhu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2590344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D:\Opgaver\EDC Marts 2020\Powerpointskabelon\billeder\ppt_billede_sommerhus_hoet_gra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725714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D:\Opgaver\EDC Marts 2020\Powerpointskabelon\billeder\ppt_billede_kvinde_i_lejlighed_med_t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837244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D:\Opgaver\EDC Marts 2020\Powerpointskabelon\billeder\ppt_billede_mand_ruller_taeppe_u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258955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1193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9986937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3" name="Picture 3" descr="D:\Opgaver\EDC Marts 2020\Powerpointskabelon\billeder\ppt_billede_aeldre_par_mal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72879088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D:\Opgaver\EDC Marts 2020\Powerpointskabelon\billeder\ppt_billede_familie_paa_fremvisnin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200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933806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142459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3418009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924333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484357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0"/>
            <a:ext cx="12185335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9587435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1"/>
            <a:ext cx="12185335" cy="68605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0088868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0" y="1"/>
            <a:ext cx="12185334" cy="68605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7715476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0" y="3174"/>
            <a:ext cx="12185334" cy="685425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49481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) Indhold - Centreret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4534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3598548"/>
            <a:ext cx="10363200" cy="1579381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30708"/>
            <a:ext cx="10363200" cy="24184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0040542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3174"/>
            <a:ext cx="12185333" cy="685425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526959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3174"/>
            <a:ext cx="12185333" cy="6854249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161816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Umage_1_video_1920x1080_7-3" descr="Umage_1_video_1920x1080_7-3">
            <a:hlinkClick r:id="" action="ppaction://media"/>
            <a:extLst>
              <a:ext uri="{FF2B5EF4-FFF2-40B4-BE49-F238E27FC236}">
                <a16:creationId xmlns:a16="http://schemas.microsoft.com/office/drawing/2014/main" id="{4AEF326F-0A5F-5A44-AF6E-474B08DBF0D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4048" y="1"/>
            <a:ext cx="12196048" cy="6871013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91714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Umage_1_video_1920x1080_7-4" descr="Umage_1_video_1920x1080_7-4">
            <a:hlinkClick r:id="" action="ppaction://media"/>
            <a:extLst>
              <a:ext uri="{FF2B5EF4-FFF2-40B4-BE49-F238E27FC236}">
                <a16:creationId xmlns:a16="http://schemas.microsoft.com/office/drawing/2014/main" id="{282CA72B-DAAA-2A47-B97A-964503CA2B5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297"/>
            <a:ext cx="12192000" cy="6868732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53938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yt afs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926263D-15B6-7E46-9D7B-3581BB98A802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Til store sale</a:t>
            </a:r>
          </a:p>
        </p:txBody>
      </p:sp>
    </p:spTree>
    <p:extLst>
      <p:ext uri="{BB962C8B-B14F-4D97-AF65-F5344CB8AC3E}">
        <p14:creationId xmlns:p14="http://schemas.microsoft.com/office/powerpoint/2010/main" val="55450544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) Forside - Intro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934" y="984664"/>
            <a:ext cx="1894132" cy="1877822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2884CE6-2E01-4949-BAD6-196A401BB8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5611154"/>
            <a:ext cx="10363200" cy="411274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tit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D9EFE38-74B0-2C43-8B3B-DBBFECFD8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4035527"/>
            <a:ext cx="10363200" cy="1470524"/>
          </a:xfrm>
        </p:spPr>
        <p:txBody>
          <a:bodyPr/>
          <a:lstStyle>
            <a:lvl1pPr>
              <a:defRPr sz="48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150EF21-A222-474E-9F0D-36BD39F2EB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3554954"/>
            <a:ext cx="10369550" cy="417513"/>
          </a:xfrm>
        </p:spPr>
        <p:txBody>
          <a:bodyPr/>
          <a:lstStyle>
            <a:lvl1pPr marL="0" indent="0" algn="ctr">
              <a:buNone/>
              <a:defRPr sz="3600" spc="300">
                <a:solidFill>
                  <a:srgbClr val="FEC315"/>
                </a:solidFill>
                <a:latin typeface="Manus" pitchFamily="2" charset="77"/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  <a:lvl4pPr marL="1371635" indent="0">
              <a:buNone/>
              <a:defRPr/>
            </a:lvl4pPr>
            <a:lvl5pPr marL="1828847" indent="0">
              <a:buNone/>
              <a:defRPr/>
            </a:lvl5pPr>
          </a:lstStyle>
          <a:p>
            <a:pPr lvl="0"/>
            <a:r>
              <a:rPr lang="da-DK"/>
              <a:t>Klik for at redigere dato</a:t>
            </a:r>
          </a:p>
        </p:txBody>
      </p:sp>
    </p:spTree>
    <p:extLst>
      <p:ext uri="{BB962C8B-B14F-4D97-AF65-F5344CB8AC3E}">
        <p14:creationId xmlns:p14="http://schemas.microsoft.com/office/powerpoint/2010/main" val="21996511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656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2120348"/>
            <a:ext cx="10363200" cy="393755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111756805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2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7466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B11F932-EEFF-0F42-A8FD-A7B6C194B9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20B5FF7-064E-A440-964E-203F0CBC0C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8454672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3) Indhold - Centreret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13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3598548"/>
            <a:ext cx="10363200" cy="1579381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30708"/>
            <a:ext cx="10363200" cy="24184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4550862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4) Indhold - Tekst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37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1" y="2090522"/>
            <a:ext cx="4929809" cy="396737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5" name="Pladsholder til tabel 4">
            <a:extLst>
              <a:ext uri="{FF2B5EF4-FFF2-40B4-BE49-F238E27FC236}">
                <a16:creationId xmlns:a16="http://schemas.microsoft.com/office/drawing/2014/main" id="{2EA14440-FD86-A745-9F55-041D16E11DC7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6096000" y="2090522"/>
            <a:ext cx="5181600" cy="3967379"/>
          </a:xfrm>
          <a:solidFill>
            <a:schemeClr val="bg2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0" tIns="360000" rIns="360000" bIns="36000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da-DK"/>
              <a:t>Klik på ikonet for at tilføje en tab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D3F494E-CD8F-B44A-B895-7802E7D87C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61361C2-35D9-DC40-ADAE-BE32D61966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658377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) Indhold - Tekst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9062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493776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5" name="Pladsholder til tabel 4">
            <a:extLst>
              <a:ext uri="{FF2B5EF4-FFF2-40B4-BE49-F238E27FC236}">
                <a16:creationId xmlns:a16="http://schemas.microsoft.com/office/drawing/2014/main" id="{2EA14440-FD86-A745-9F55-041D16E11DC7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6096000" y="1736726"/>
            <a:ext cx="5181600" cy="4321175"/>
          </a:xfrm>
          <a:solidFill>
            <a:schemeClr val="bg2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0" tIns="360000" rIns="360000" bIns="36000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264965110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5) Indhold - Et emn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142082" y="477952"/>
            <a:ext cx="3907836" cy="295104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5023692"/>
            <a:ext cx="10363200" cy="1024569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3564836"/>
            <a:ext cx="10363200" cy="130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11454941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6) Indhold - To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2164016" y="1996219"/>
            <a:ext cx="3627184" cy="2213113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2164016" y="4315350"/>
            <a:ext cx="3627184" cy="52913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2164016" y="4993802"/>
            <a:ext cx="3627184" cy="1059239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400800" y="2001079"/>
            <a:ext cx="3627184" cy="2213113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00800" y="4315350"/>
            <a:ext cx="3627184" cy="53399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00800" y="4998662"/>
            <a:ext cx="3627184" cy="1059239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DCA192D-13F0-8B44-B645-43979F69C2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CBFA1C1-882E-5645-99C0-3185EC1854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35358011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7) Indhold - T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E3B89B6-A024-B84B-A5B9-26E24133BBD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01148" y="199621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6" name="Pladsholder til tekst 3">
            <a:extLst>
              <a:ext uri="{FF2B5EF4-FFF2-40B4-BE49-F238E27FC236}">
                <a16:creationId xmlns:a16="http://schemas.microsoft.com/office/drawing/2014/main" id="{882D2D26-0C67-134D-B9A4-B8005DA09D6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148" y="4315349"/>
            <a:ext cx="3330208" cy="535467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07DDBD85-7D34-6D4E-839C-CC15FC2869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1148" y="499380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FCC4041F-0124-C541-AFC8-AE62A127F40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417644" y="200107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7" name="Pladsholder til tekst 3">
            <a:extLst>
              <a:ext uri="{FF2B5EF4-FFF2-40B4-BE49-F238E27FC236}">
                <a16:creationId xmlns:a16="http://schemas.microsoft.com/office/drawing/2014/main" id="{7B52DD36-DC98-3D47-A0C3-A9425FAE7D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17644" y="4315349"/>
            <a:ext cx="333020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8" name="Pladsholder til tekst 3">
            <a:extLst>
              <a:ext uri="{FF2B5EF4-FFF2-40B4-BE49-F238E27FC236}">
                <a16:creationId xmlns:a16="http://schemas.microsoft.com/office/drawing/2014/main" id="{8501AE1F-28E2-7F4A-8DB5-7A5850E2F8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17644" y="499866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B62EDF71-561A-6A44-BCF5-2D09A169B936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7934140" y="200107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0" name="Pladsholder til tekst 3">
            <a:extLst>
              <a:ext uri="{FF2B5EF4-FFF2-40B4-BE49-F238E27FC236}">
                <a16:creationId xmlns:a16="http://schemas.microsoft.com/office/drawing/2014/main" id="{D63F48F0-EB0A-1B43-95C7-3DC5C8F084A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34140" y="4315349"/>
            <a:ext cx="333020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E901EA20-D2D6-1847-BAEE-155DAFB627D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934140" y="499866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224E5EFD-6BAF-C446-8E69-8A63CE6F13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4C9323F9-7A7F-EA45-A263-1F23E4157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35062135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8) Indhold - Fi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E7B02512-77B6-3E4D-A7FE-46004AAB3DD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01148" y="199621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3030EC21-C95B-AA41-BCB4-09DF2642AA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148" y="4315349"/>
            <a:ext cx="2514958" cy="535467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18" name="Pladsholder til tekst 3">
            <a:extLst>
              <a:ext uri="{FF2B5EF4-FFF2-40B4-BE49-F238E27FC236}">
                <a16:creationId xmlns:a16="http://schemas.microsoft.com/office/drawing/2014/main" id="{AF32A35C-97F0-EF40-A200-C2393DDA49F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1148" y="499380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E47EE4D6-54EE-6B4D-94BC-576A41578E7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519870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0" name="Pladsholder til tekst 3">
            <a:extLst>
              <a:ext uri="{FF2B5EF4-FFF2-40B4-BE49-F238E27FC236}">
                <a16:creationId xmlns:a16="http://schemas.microsoft.com/office/drawing/2014/main" id="{FC54151C-9BD2-9441-B192-9C92CA68A4D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19870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1" name="Pladsholder til tekst 3">
            <a:extLst>
              <a:ext uri="{FF2B5EF4-FFF2-40B4-BE49-F238E27FC236}">
                <a16:creationId xmlns:a16="http://schemas.microsoft.com/office/drawing/2014/main" id="{0B9E6C6A-AE43-0C41-855D-6826155AE3D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19870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914B9948-AB67-514F-A195-A8D1BA9309C1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137566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74ECA657-6A3A-1543-92C3-C61349168AA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37566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6" name="Pladsholder til tekst 3">
            <a:extLst>
              <a:ext uri="{FF2B5EF4-FFF2-40B4-BE49-F238E27FC236}">
                <a16:creationId xmlns:a16="http://schemas.microsoft.com/office/drawing/2014/main" id="{5C9C9D67-6C46-924B-AF1B-E5B807F7146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7566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FBB4852E-96B9-3E44-86C7-1D0B200D11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CAFE22BC-7CFF-8048-8841-439F660FF1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0C59EBB3-3967-8946-9F8B-14CDF2AC3A6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763574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0" name="Pladsholder til tekst 3">
            <a:extLst>
              <a:ext uri="{FF2B5EF4-FFF2-40B4-BE49-F238E27FC236}">
                <a16:creationId xmlns:a16="http://schemas.microsoft.com/office/drawing/2014/main" id="{77BB1D31-72DA-2342-B1B2-2962322C16C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63574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8B92E519-CB80-BC42-9A99-69D17D0546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63574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88254808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9) Indhold - venst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43717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0973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973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35725226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0) Indhold - høj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626600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342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0342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4584111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1) Indhold - billedekollag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1" y="2019996"/>
            <a:ext cx="2796988" cy="389468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772861" y="2019996"/>
            <a:ext cx="2796988" cy="199673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631321" y="2019996"/>
            <a:ext cx="4646279" cy="199673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631321" y="4089863"/>
            <a:ext cx="4646279" cy="182482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779737" y="4089862"/>
            <a:ext cx="2796988" cy="18269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04F7A2D-1D60-924D-8691-343C17E54B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81798" y="4304061"/>
            <a:ext cx="2195929" cy="1426183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34353D1-F63C-274C-A2AA-4931139C8A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197B0DB-59BC-5C4E-A85E-E3E4C17531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29466471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2) Indhold - billedekollage med 6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2030864"/>
            <a:ext cx="2796988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2030864"/>
            <a:ext cx="4646279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3611496" y="4098637"/>
            <a:ext cx="4794838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2030864"/>
            <a:ext cx="2822600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914400" y="4098637"/>
            <a:ext cx="2635624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8454999" y="4098637"/>
            <a:ext cx="2822600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433FED9-97B9-584F-A6D1-ED3735AFE1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4EC77A8-1058-604D-AA07-79EB3B6DF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50565243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3) Indhold - billedekollage med 4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2036620"/>
            <a:ext cx="2796988" cy="203829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2036621"/>
            <a:ext cx="4646279" cy="39362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2036620"/>
            <a:ext cx="2822600" cy="203829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5609346" y="4139739"/>
            <a:ext cx="5668254" cy="183313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1244420-0C1D-A54B-9BEA-A64234EE0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66A353E-08D4-944F-B5D4-CA3495E1A8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43484490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4) Indhold - venst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0800" y="2801961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0" y="507079"/>
            <a:ext cx="4876800" cy="2143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0800" y="3715792"/>
            <a:ext cx="4876800" cy="24439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7226904-5333-1643-A028-C32C08635B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7116"/>
            <a:ext cx="5450468" cy="667088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22634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5) Indhold - Et emn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142082" y="477952"/>
            <a:ext cx="3907836" cy="3277515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5023692"/>
            <a:ext cx="10363200" cy="1024569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3830256"/>
            <a:ext cx="10363200" cy="104385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408706259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5) Indhold - høj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756400" y="183586"/>
            <a:ext cx="5435600" cy="667441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03205F-5AF1-8C44-8C5D-FA8E93654D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4560" y="2801961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2C7903EA-DB60-B04D-98D6-FBA25BBCDE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560" y="3715792"/>
            <a:ext cx="4876800" cy="24439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54F9CDD-2960-D043-9561-8FBD8B17D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4560" y="507079"/>
            <a:ext cx="4876800" cy="2143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5323852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0) Nyt afsnit - Mellemslide (indsæt 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BCF49B0B-A67E-0347-B3E2-E981321E0A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80" y="0"/>
            <a:ext cx="12193879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18 w 12192018"/>
              <a:gd name="connsiteY0" fmla="*/ 0 h 6858000"/>
              <a:gd name="connsiteX1" fmla="*/ 12192018 w 12192018"/>
              <a:gd name="connsiteY1" fmla="*/ 0 h 6858000"/>
              <a:gd name="connsiteX2" fmla="*/ 12192018 w 12192018"/>
              <a:gd name="connsiteY2" fmla="*/ 6858000 h 6858000"/>
              <a:gd name="connsiteX3" fmla="*/ 18 w 12192018"/>
              <a:gd name="connsiteY3" fmla="*/ 6858000 h 6858000"/>
              <a:gd name="connsiteX4" fmla="*/ 2377458 w 12192018"/>
              <a:gd name="connsiteY4" fmla="*/ 2971800 h 6858000"/>
              <a:gd name="connsiteX5" fmla="*/ 18 w 12192018"/>
              <a:gd name="connsiteY5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3115657 w 12930217"/>
              <a:gd name="connsiteY5" fmla="*/ 2971800 h 6858000"/>
              <a:gd name="connsiteX6" fmla="*/ 738217 w 12930217"/>
              <a:gd name="connsiteY6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3115657 w 12930217"/>
              <a:gd name="connsiteY6" fmla="*/ 2971800 h 6858000"/>
              <a:gd name="connsiteX7" fmla="*/ 738217 w 12930217"/>
              <a:gd name="connsiteY7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849833 w 13041833"/>
              <a:gd name="connsiteY0" fmla="*/ 0 h 6858000"/>
              <a:gd name="connsiteX1" fmla="*/ 13041833 w 13041833"/>
              <a:gd name="connsiteY1" fmla="*/ 0 h 6858000"/>
              <a:gd name="connsiteX2" fmla="*/ 13041833 w 13041833"/>
              <a:gd name="connsiteY2" fmla="*/ 6858000 h 6858000"/>
              <a:gd name="connsiteX3" fmla="*/ 849833 w 13041833"/>
              <a:gd name="connsiteY3" fmla="*/ 6858000 h 6858000"/>
              <a:gd name="connsiteX4" fmla="*/ 1307033 w 13041833"/>
              <a:gd name="connsiteY4" fmla="*/ 5829300 h 6858000"/>
              <a:gd name="connsiteX5" fmla="*/ 7067754 w 13041833"/>
              <a:gd name="connsiteY5" fmla="*/ 5772150 h 6858000"/>
              <a:gd name="connsiteX6" fmla="*/ 8096454 w 13041833"/>
              <a:gd name="connsiteY6" fmla="*/ 3086100 h 6858000"/>
              <a:gd name="connsiteX7" fmla="*/ 861263 w 13041833"/>
              <a:gd name="connsiteY7" fmla="*/ 3086100 h 6858000"/>
              <a:gd name="connsiteX8" fmla="*/ 849833 w 13041833"/>
              <a:gd name="connsiteY8" fmla="*/ 0 h 6858000"/>
              <a:gd name="connsiteX0" fmla="*/ 796095 w 12988095"/>
              <a:gd name="connsiteY0" fmla="*/ 0 h 6858000"/>
              <a:gd name="connsiteX1" fmla="*/ 12988095 w 12988095"/>
              <a:gd name="connsiteY1" fmla="*/ 0 h 6858000"/>
              <a:gd name="connsiteX2" fmla="*/ 12988095 w 12988095"/>
              <a:gd name="connsiteY2" fmla="*/ 6858000 h 6858000"/>
              <a:gd name="connsiteX3" fmla="*/ 796095 w 12988095"/>
              <a:gd name="connsiteY3" fmla="*/ 6858000 h 6858000"/>
              <a:gd name="connsiteX4" fmla="*/ 1253295 w 12988095"/>
              <a:gd name="connsiteY4" fmla="*/ 5829300 h 6858000"/>
              <a:gd name="connsiteX5" fmla="*/ 7014016 w 12988095"/>
              <a:gd name="connsiteY5" fmla="*/ 5772150 h 6858000"/>
              <a:gd name="connsiteX6" fmla="*/ 8042716 w 12988095"/>
              <a:gd name="connsiteY6" fmla="*/ 3086100 h 6858000"/>
              <a:gd name="connsiteX7" fmla="*/ 807525 w 12988095"/>
              <a:gd name="connsiteY7" fmla="*/ 3086100 h 6858000"/>
              <a:gd name="connsiteX8" fmla="*/ 796095 w 12988095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457200 w 12192000"/>
              <a:gd name="connsiteY4" fmla="*/ 582930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45732 w 12237732"/>
              <a:gd name="connsiteY0" fmla="*/ 0 h 6858000"/>
              <a:gd name="connsiteX1" fmla="*/ 12237732 w 12237732"/>
              <a:gd name="connsiteY1" fmla="*/ 0 h 6858000"/>
              <a:gd name="connsiteX2" fmla="*/ 12237732 w 12237732"/>
              <a:gd name="connsiteY2" fmla="*/ 6858000 h 6858000"/>
              <a:gd name="connsiteX3" fmla="*/ 45732 w 12237732"/>
              <a:gd name="connsiteY3" fmla="*/ 6858000 h 6858000"/>
              <a:gd name="connsiteX4" fmla="*/ 57162 w 12237732"/>
              <a:gd name="connsiteY4" fmla="*/ 5806440 h 6858000"/>
              <a:gd name="connsiteX5" fmla="*/ 6263653 w 12237732"/>
              <a:gd name="connsiteY5" fmla="*/ 5772150 h 6858000"/>
              <a:gd name="connsiteX6" fmla="*/ 7292353 w 12237732"/>
              <a:gd name="connsiteY6" fmla="*/ 3086100 h 6858000"/>
              <a:gd name="connsiteX7" fmla="*/ 57162 w 12237732"/>
              <a:gd name="connsiteY7" fmla="*/ 3086100 h 6858000"/>
              <a:gd name="connsiteX8" fmla="*/ 45732 w 12237732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12700 w 12193270"/>
              <a:gd name="connsiteY4" fmla="*/ 580644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6350 w 12193270"/>
              <a:gd name="connsiteY4" fmla="*/ 582549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1914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3879" h="6858000">
                <a:moveTo>
                  <a:pt x="1879" y="0"/>
                </a:moveTo>
                <a:lnTo>
                  <a:pt x="12193879" y="0"/>
                </a:lnTo>
                <a:lnTo>
                  <a:pt x="12193879" y="6858000"/>
                </a:lnTo>
                <a:lnTo>
                  <a:pt x="1879" y="6858000"/>
                </a:lnTo>
                <a:cubicBezTo>
                  <a:pt x="2514" y="6059805"/>
                  <a:pt x="-3836" y="6492875"/>
                  <a:pt x="3784" y="5822315"/>
                </a:cubicBezTo>
                <a:lnTo>
                  <a:pt x="7247865" y="5819140"/>
                </a:lnTo>
                <a:cubicBezTo>
                  <a:pt x="7250405" y="4772660"/>
                  <a:pt x="7247230" y="4008755"/>
                  <a:pt x="7251675" y="3089275"/>
                </a:cubicBezTo>
                <a:lnTo>
                  <a:pt x="609" y="3092450"/>
                </a:lnTo>
                <a:cubicBezTo>
                  <a:pt x="1032" y="2061633"/>
                  <a:pt x="1456" y="1030817"/>
                  <a:pt x="1879" y="0"/>
                </a:cubicBezTo>
                <a:close/>
              </a:path>
            </a:pathLst>
          </a:custGeom>
          <a:noFill/>
          <a:effectLst/>
        </p:spPr>
        <p:txBody>
          <a:bodyPr tIns="1692000"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800" b="0" baseline="0">
                <a:latin typeface="+mj-lt"/>
              </a:defRPr>
            </a:lvl1pPr>
          </a:lstStyle>
          <a:p>
            <a:r>
              <a:rPr lang="en-US" err="1"/>
              <a:t>Indsæt</a:t>
            </a:r>
            <a:r>
              <a:rPr lang="en-US"/>
              <a:t> </a:t>
            </a:r>
            <a:r>
              <a:rPr lang="en-US" err="1"/>
              <a:t>billiede</a:t>
            </a:r>
            <a:r>
              <a:rPr lang="en-US"/>
              <a:t>, </a:t>
            </a:r>
            <a:r>
              <a:rPr lang="en-US" err="1"/>
              <a:t>klik</a:t>
            </a:r>
            <a:r>
              <a:rPr lang="en-US"/>
              <a:t> her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6A1B4D00-31DD-DC4B-AFF0-EF1A65F4B3C9}"/>
              </a:ext>
            </a:extLst>
          </p:cNvPr>
          <p:cNvGrpSpPr/>
          <p:nvPr userDrawn="1"/>
        </p:nvGrpSpPr>
        <p:grpSpPr>
          <a:xfrm rot="17162911" flipH="1">
            <a:off x="6421968" y="2335518"/>
            <a:ext cx="837630" cy="491500"/>
            <a:chOff x="3807407" y="1614978"/>
            <a:chExt cx="750355" cy="334433"/>
          </a:xfrm>
        </p:grpSpPr>
        <p:sp>
          <p:nvSpPr>
            <p:cNvPr id="11" name="Kombinationstegning 10">
              <a:extLst>
                <a:ext uri="{FF2B5EF4-FFF2-40B4-BE49-F238E27FC236}">
                  <a16:creationId xmlns:a16="http://schemas.microsoft.com/office/drawing/2014/main" id="{8133E8D6-A266-494A-9802-FFC988866083}"/>
                </a:ext>
              </a:extLst>
            </p:cNvPr>
            <p:cNvSpPr/>
            <p:nvPr/>
          </p:nvSpPr>
          <p:spPr>
            <a:xfrm>
              <a:off x="3807407" y="1651138"/>
              <a:ext cx="674427" cy="298273"/>
            </a:xfrm>
            <a:custGeom>
              <a:avLst/>
              <a:gdLst>
                <a:gd name="connsiteX0" fmla="*/ 161131 w 674427"/>
                <a:gd name="connsiteY0" fmla="*/ 238844 h 298273"/>
                <a:gd name="connsiteX1" fmla="*/ 163986 w 674427"/>
                <a:gd name="connsiteY1" fmla="*/ 237892 h 298273"/>
                <a:gd name="connsiteX2" fmla="*/ 136381 w 674427"/>
                <a:gd name="connsiteY2" fmla="*/ 250263 h 298273"/>
                <a:gd name="connsiteX3" fmla="*/ 194447 w 674427"/>
                <a:gd name="connsiteY3" fmla="*/ 220764 h 298273"/>
                <a:gd name="connsiteX4" fmla="*/ 218245 w 674427"/>
                <a:gd name="connsiteY4" fmla="*/ 216006 h 298273"/>
                <a:gd name="connsiteX5" fmla="*/ 229667 w 674427"/>
                <a:gd name="connsiteY5" fmla="*/ 208394 h 298273"/>
                <a:gd name="connsiteX6" fmla="*/ 222052 w 674427"/>
                <a:gd name="connsiteY6" fmla="*/ 213152 h 298273"/>
                <a:gd name="connsiteX7" fmla="*/ 229667 w 674427"/>
                <a:gd name="connsiteY7" fmla="*/ 208394 h 298273"/>
                <a:gd name="connsiteX8" fmla="*/ 313435 w 674427"/>
                <a:gd name="connsiteY8" fmla="*/ 169379 h 298273"/>
                <a:gd name="connsiteX9" fmla="*/ 392442 w 674427"/>
                <a:gd name="connsiteY9" fmla="*/ 137978 h 298273"/>
                <a:gd name="connsiteX10" fmla="*/ 400057 w 674427"/>
                <a:gd name="connsiteY10" fmla="*/ 135123 h 298273"/>
                <a:gd name="connsiteX11" fmla="*/ 391490 w 674427"/>
                <a:gd name="connsiteY11" fmla="*/ 137978 h 298273"/>
                <a:gd name="connsiteX12" fmla="*/ 418144 w 674427"/>
                <a:gd name="connsiteY12" fmla="*/ 121801 h 298273"/>
                <a:gd name="connsiteX13" fmla="*/ 411480 w 674427"/>
                <a:gd name="connsiteY13" fmla="*/ 121801 h 298273"/>
                <a:gd name="connsiteX14" fmla="*/ 416240 w 674427"/>
                <a:gd name="connsiteY14" fmla="*/ 119898 h 298273"/>
                <a:gd name="connsiteX15" fmla="*/ 433374 w 674427"/>
                <a:gd name="connsiteY15" fmla="*/ 109430 h 298273"/>
                <a:gd name="connsiteX16" fmla="*/ 440037 w 674427"/>
                <a:gd name="connsiteY16" fmla="*/ 108479 h 298273"/>
                <a:gd name="connsiteX17" fmla="*/ 438133 w 674427"/>
                <a:gd name="connsiteY17" fmla="*/ 108479 h 298273"/>
                <a:gd name="connsiteX18" fmla="*/ 474306 w 674427"/>
                <a:gd name="connsiteY18" fmla="*/ 92302 h 298273"/>
                <a:gd name="connsiteX19" fmla="*/ 478113 w 674427"/>
                <a:gd name="connsiteY19" fmla="*/ 91351 h 298273"/>
                <a:gd name="connsiteX20" fmla="*/ 488584 w 674427"/>
                <a:gd name="connsiteY20" fmla="*/ 86593 h 298273"/>
                <a:gd name="connsiteX21" fmla="*/ 493344 w 674427"/>
                <a:gd name="connsiteY21" fmla="*/ 87544 h 298273"/>
                <a:gd name="connsiteX22" fmla="*/ 515237 w 674427"/>
                <a:gd name="connsiteY22" fmla="*/ 76126 h 298273"/>
                <a:gd name="connsiteX23" fmla="*/ 555217 w 674427"/>
                <a:gd name="connsiteY23" fmla="*/ 58997 h 298273"/>
                <a:gd name="connsiteX24" fmla="*/ 596149 w 674427"/>
                <a:gd name="connsiteY24" fmla="*/ 40917 h 298273"/>
                <a:gd name="connsiteX25" fmla="*/ 595197 w 674427"/>
                <a:gd name="connsiteY25" fmla="*/ 40917 h 298273"/>
                <a:gd name="connsiteX26" fmla="*/ 624706 w 674427"/>
                <a:gd name="connsiteY26" fmla="*/ 27596 h 298273"/>
                <a:gd name="connsiteX27" fmla="*/ 646599 w 674427"/>
                <a:gd name="connsiteY27" fmla="*/ 14274 h 298273"/>
                <a:gd name="connsiteX28" fmla="*/ 669445 w 674427"/>
                <a:gd name="connsiteY28" fmla="*/ 4758 h 298273"/>
                <a:gd name="connsiteX29" fmla="*/ 673253 w 674427"/>
                <a:gd name="connsiteY29" fmla="*/ 0 h 298273"/>
                <a:gd name="connsiteX30" fmla="*/ 659926 w 674427"/>
                <a:gd name="connsiteY30" fmla="*/ 1903 h 298273"/>
                <a:gd name="connsiteX31" fmla="*/ 659926 w 674427"/>
                <a:gd name="connsiteY31" fmla="*/ 1903 h 298273"/>
                <a:gd name="connsiteX32" fmla="*/ 581870 w 674427"/>
                <a:gd name="connsiteY32" fmla="*/ 23789 h 298273"/>
                <a:gd name="connsiteX33" fmla="*/ 528564 w 674427"/>
                <a:gd name="connsiteY33" fmla="*/ 44724 h 298273"/>
                <a:gd name="connsiteX34" fmla="*/ 474306 w 674427"/>
                <a:gd name="connsiteY34" fmla="*/ 69465 h 298273"/>
                <a:gd name="connsiteX35" fmla="*/ 463835 w 674427"/>
                <a:gd name="connsiteY35" fmla="*/ 72319 h 298273"/>
                <a:gd name="connsiteX36" fmla="*/ 414336 w 674427"/>
                <a:gd name="connsiteY36" fmla="*/ 94205 h 298273"/>
                <a:gd name="connsiteX37" fmla="*/ 415288 w 674427"/>
                <a:gd name="connsiteY37" fmla="*/ 94205 h 298273"/>
                <a:gd name="connsiteX38" fmla="*/ 390538 w 674427"/>
                <a:gd name="connsiteY38" fmla="*/ 103721 h 298273"/>
                <a:gd name="connsiteX39" fmla="*/ 388635 w 674427"/>
                <a:gd name="connsiteY39" fmla="*/ 105624 h 298273"/>
                <a:gd name="connsiteX40" fmla="*/ 336280 w 674427"/>
                <a:gd name="connsiteY40" fmla="*/ 132268 h 298273"/>
                <a:gd name="connsiteX41" fmla="*/ 333424 w 674427"/>
                <a:gd name="connsiteY41" fmla="*/ 134171 h 298273"/>
                <a:gd name="connsiteX42" fmla="*/ 280118 w 674427"/>
                <a:gd name="connsiteY42" fmla="*/ 154154 h 298273"/>
                <a:gd name="connsiteX43" fmla="*/ 271551 w 674427"/>
                <a:gd name="connsiteY43" fmla="*/ 161767 h 298273"/>
                <a:gd name="connsiteX44" fmla="*/ 264888 w 674427"/>
                <a:gd name="connsiteY44" fmla="*/ 165573 h 298273"/>
                <a:gd name="connsiteX45" fmla="*/ 255369 w 674427"/>
                <a:gd name="connsiteY45" fmla="*/ 169379 h 298273"/>
                <a:gd name="connsiteX46" fmla="*/ 235379 w 674427"/>
                <a:gd name="connsiteY46" fmla="*/ 178895 h 298273"/>
                <a:gd name="connsiteX47" fmla="*/ 227764 w 674427"/>
                <a:gd name="connsiteY47" fmla="*/ 183653 h 298273"/>
                <a:gd name="connsiteX48" fmla="*/ 222052 w 674427"/>
                <a:gd name="connsiteY48" fmla="*/ 184604 h 298273"/>
                <a:gd name="connsiteX49" fmla="*/ 210629 w 674427"/>
                <a:gd name="connsiteY49" fmla="*/ 189362 h 298273"/>
                <a:gd name="connsiteX50" fmla="*/ 193495 w 674427"/>
                <a:gd name="connsiteY50" fmla="*/ 199829 h 298273"/>
                <a:gd name="connsiteX51" fmla="*/ 194447 w 674427"/>
                <a:gd name="connsiteY51" fmla="*/ 198878 h 298273"/>
                <a:gd name="connsiteX52" fmla="*/ 173505 w 674427"/>
                <a:gd name="connsiteY52" fmla="*/ 205539 h 298273"/>
                <a:gd name="connsiteX53" fmla="*/ 112584 w 674427"/>
                <a:gd name="connsiteY53" fmla="*/ 235038 h 298273"/>
                <a:gd name="connsiteX54" fmla="*/ 117343 w 674427"/>
                <a:gd name="connsiteY54" fmla="*/ 234086 h 298273"/>
                <a:gd name="connsiteX55" fmla="*/ 83075 w 674427"/>
                <a:gd name="connsiteY55" fmla="*/ 248360 h 298273"/>
                <a:gd name="connsiteX56" fmla="*/ 77363 w 674427"/>
                <a:gd name="connsiteY56" fmla="*/ 249311 h 298273"/>
                <a:gd name="connsiteX57" fmla="*/ 72604 w 674427"/>
                <a:gd name="connsiteY57" fmla="*/ 252166 h 298273"/>
                <a:gd name="connsiteX58" fmla="*/ 71652 w 674427"/>
                <a:gd name="connsiteY58" fmla="*/ 251214 h 298273"/>
                <a:gd name="connsiteX59" fmla="*/ 62133 w 674427"/>
                <a:gd name="connsiteY59" fmla="*/ 255021 h 298273"/>
                <a:gd name="connsiteX60" fmla="*/ 59277 w 674427"/>
                <a:gd name="connsiteY60" fmla="*/ 256924 h 298273"/>
                <a:gd name="connsiteX61" fmla="*/ 55470 w 674427"/>
                <a:gd name="connsiteY61" fmla="*/ 257875 h 298273"/>
                <a:gd name="connsiteX62" fmla="*/ 55470 w 674427"/>
                <a:gd name="connsiteY62" fmla="*/ 257875 h 298273"/>
                <a:gd name="connsiteX63" fmla="*/ 53566 w 674427"/>
                <a:gd name="connsiteY63" fmla="*/ 258827 h 298273"/>
                <a:gd name="connsiteX64" fmla="*/ 39287 w 674427"/>
                <a:gd name="connsiteY64" fmla="*/ 271197 h 298273"/>
                <a:gd name="connsiteX65" fmla="*/ 38335 w 674427"/>
                <a:gd name="connsiteY65" fmla="*/ 271197 h 298273"/>
                <a:gd name="connsiteX66" fmla="*/ 37384 w 674427"/>
                <a:gd name="connsiteY66" fmla="*/ 273100 h 298273"/>
                <a:gd name="connsiteX67" fmla="*/ 34528 w 674427"/>
                <a:gd name="connsiteY67" fmla="*/ 274052 h 298273"/>
                <a:gd name="connsiteX68" fmla="*/ 34528 w 674427"/>
                <a:gd name="connsiteY68" fmla="*/ 274052 h 298273"/>
                <a:gd name="connsiteX69" fmla="*/ 31672 w 674427"/>
                <a:gd name="connsiteY69" fmla="*/ 275004 h 298273"/>
                <a:gd name="connsiteX70" fmla="*/ 30720 w 674427"/>
                <a:gd name="connsiteY70" fmla="*/ 274052 h 298273"/>
                <a:gd name="connsiteX71" fmla="*/ 26913 w 674427"/>
                <a:gd name="connsiteY71" fmla="*/ 276907 h 298273"/>
                <a:gd name="connsiteX72" fmla="*/ 41191 w 674427"/>
                <a:gd name="connsiteY72" fmla="*/ 274052 h 298273"/>
                <a:gd name="connsiteX73" fmla="*/ 34528 w 674427"/>
                <a:gd name="connsiteY73" fmla="*/ 276907 h 298273"/>
                <a:gd name="connsiteX74" fmla="*/ 23105 w 674427"/>
                <a:gd name="connsiteY74" fmla="*/ 279761 h 298273"/>
                <a:gd name="connsiteX75" fmla="*/ 20249 w 674427"/>
                <a:gd name="connsiteY75" fmla="*/ 281664 h 298273"/>
                <a:gd name="connsiteX76" fmla="*/ 16442 w 674427"/>
                <a:gd name="connsiteY76" fmla="*/ 282616 h 298273"/>
                <a:gd name="connsiteX77" fmla="*/ 21201 w 674427"/>
                <a:gd name="connsiteY77" fmla="*/ 279761 h 298273"/>
                <a:gd name="connsiteX78" fmla="*/ 15490 w 674427"/>
                <a:gd name="connsiteY78" fmla="*/ 281664 h 298273"/>
                <a:gd name="connsiteX79" fmla="*/ 9778 w 674427"/>
                <a:gd name="connsiteY79" fmla="*/ 284519 h 298273"/>
                <a:gd name="connsiteX80" fmla="*/ 5971 w 674427"/>
                <a:gd name="connsiteY80" fmla="*/ 284519 h 298273"/>
                <a:gd name="connsiteX81" fmla="*/ 5019 w 674427"/>
                <a:gd name="connsiteY81" fmla="*/ 286422 h 298273"/>
                <a:gd name="connsiteX82" fmla="*/ 9778 w 674427"/>
                <a:gd name="connsiteY82" fmla="*/ 286422 h 298273"/>
                <a:gd name="connsiteX83" fmla="*/ 5019 w 674427"/>
                <a:gd name="connsiteY83" fmla="*/ 288325 h 298273"/>
                <a:gd name="connsiteX84" fmla="*/ 5971 w 674427"/>
                <a:gd name="connsiteY84" fmla="*/ 289277 h 298273"/>
                <a:gd name="connsiteX85" fmla="*/ 1211 w 674427"/>
                <a:gd name="connsiteY85" fmla="*/ 291180 h 298273"/>
                <a:gd name="connsiteX86" fmla="*/ 2163 w 674427"/>
                <a:gd name="connsiteY86" fmla="*/ 290229 h 298273"/>
                <a:gd name="connsiteX87" fmla="*/ 8827 w 674427"/>
                <a:gd name="connsiteY87" fmla="*/ 281664 h 298273"/>
                <a:gd name="connsiteX88" fmla="*/ 259 w 674427"/>
                <a:gd name="connsiteY88" fmla="*/ 291180 h 298273"/>
                <a:gd name="connsiteX89" fmla="*/ 1211 w 674427"/>
                <a:gd name="connsiteY89" fmla="*/ 292132 h 298273"/>
                <a:gd name="connsiteX90" fmla="*/ 2163 w 674427"/>
                <a:gd name="connsiteY90" fmla="*/ 290229 h 298273"/>
                <a:gd name="connsiteX91" fmla="*/ 5019 w 674427"/>
                <a:gd name="connsiteY91" fmla="*/ 291180 h 298273"/>
                <a:gd name="connsiteX92" fmla="*/ 8827 w 674427"/>
                <a:gd name="connsiteY92" fmla="*/ 284519 h 298273"/>
                <a:gd name="connsiteX93" fmla="*/ 9778 w 674427"/>
                <a:gd name="connsiteY93" fmla="*/ 284519 h 298273"/>
                <a:gd name="connsiteX94" fmla="*/ 5019 w 674427"/>
                <a:gd name="connsiteY94" fmla="*/ 287374 h 298273"/>
                <a:gd name="connsiteX95" fmla="*/ 3115 w 674427"/>
                <a:gd name="connsiteY95" fmla="*/ 290229 h 298273"/>
                <a:gd name="connsiteX96" fmla="*/ 2163 w 674427"/>
                <a:gd name="connsiteY96" fmla="*/ 290229 h 298273"/>
                <a:gd name="connsiteX97" fmla="*/ 259 w 674427"/>
                <a:gd name="connsiteY97" fmla="*/ 292132 h 298273"/>
                <a:gd name="connsiteX98" fmla="*/ 5971 w 674427"/>
                <a:gd name="connsiteY98" fmla="*/ 297841 h 298273"/>
                <a:gd name="connsiteX99" fmla="*/ 9778 w 674427"/>
                <a:gd name="connsiteY99" fmla="*/ 294035 h 298273"/>
                <a:gd name="connsiteX100" fmla="*/ 14538 w 674427"/>
                <a:gd name="connsiteY100" fmla="*/ 294035 h 298273"/>
                <a:gd name="connsiteX101" fmla="*/ 15490 w 674427"/>
                <a:gd name="connsiteY101" fmla="*/ 292132 h 298273"/>
                <a:gd name="connsiteX102" fmla="*/ 19297 w 674427"/>
                <a:gd name="connsiteY102" fmla="*/ 292132 h 298273"/>
                <a:gd name="connsiteX103" fmla="*/ 24057 w 674427"/>
                <a:gd name="connsiteY103" fmla="*/ 290229 h 298273"/>
                <a:gd name="connsiteX104" fmla="*/ 25009 w 674427"/>
                <a:gd name="connsiteY104" fmla="*/ 289277 h 298273"/>
                <a:gd name="connsiteX105" fmla="*/ 32624 w 674427"/>
                <a:gd name="connsiteY105" fmla="*/ 285471 h 298273"/>
                <a:gd name="connsiteX106" fmla="*/ 35480 w 674427"/>
                <a:gd name="connsiteY106" fmla="*/ 288325 h 298273"/>
                <a:gd name="connsiteX107" fmla="*/ 32624 w 674427"/>
                <a:gd name="connsiteY107" fmla="*/ 288325 h 298273"/>
                <a:gd name="connsiteX108" fmla="*/ 29768 w 674427"/>
                <a:gd name="connsiteY108" fmla="*/ 292132 h 298273"/>
                <a:gd name="connsiteX109" fmla="*/ 35480 w 674427"/>
                <a:gd name="connsiteY109" fmla="*/ 290229 h 298273"/>
                <a:gd name="connsiteX110" fmla="*/ 34528 w 674427"/>
                <a:gd name="connsiteY110" fmla="*/ 290229 h 298273"/>
                <a:gd name="connsiteX111" fmla="*/ 42143 w 674427"/>
                <a:gd name="connsiteY111" fmla="*/ 286422 h 298273"/>
                <a:gd name="connsiteX112" fmla="*/ 42143 w 674427"/>
                <a:gd name="connsiteY112" fmla="*/ 288325 h 298273"/>
                <a:gd name="connsiteX113" fmla="*/ 44999 w 674427"/>
                <a:gd name="connsiteY113" fmla="*/ 287374 h 298273"/>
                <a:gd name="connsiteX114" fmla="*/ 44999 w 674427"/>
                <a:gd name="connsiteY114" fmla="*/ 287374 h 298273"/>
                <a:gd name="connsiteX115" fmla="*/ 48806 w 674427"/>
                <a:gd name="connsiteY115" fmla="*/ 285471 h 298273"/>
                <a:gd name="connsiteX116" fmla="*/ 61181 w 674427"/>
                <a:gd name="connsiteY116" fmla="*/ 276907 h 298273"/>
                <a:gd name="connsiteX117" fmla="*/ 64989 w 674427"/>
                <a:gd name="connsiteY117" fmla="*/ 275004 h 298273"/>
                <a:gd name="connsiteX118" fmla="*/ 50710 w 674427"/>
                <a:gd name="connsiteY118" fmla="*/ 284519 h 298273"/>
                <a:gd name="connsiteX119" fmla="*/ 71652 w 674427"/>
                <a:gd name="connsiteY119" fmla="*/ 272149 h 298273"/>
                <a:gd name="connsiteX120" fmla="*/ 73556 w 674427"/>
                <a:gd name="connsiteY120" fmla="*/ 270246 h 298273"/>
                <a:gd name="connsiteX121" fmla="*/ 75460 w 674427"/>
                <a:gd name="connsiteY121" fmla="*/ 271197 h 298273"/>
                <a:gd name="connsiteX122" fmla="*/ 75460 w 674427"/>
                <a:gd name="connsiteY122" fmla="*/ 271197 h 298273"/>
                <a:gd name="connsiteX123" fmla="*/ 77363 w 674427"/>
                <a:gd name="connsiteY123" fmla="*/ 271197 h 298273"/>
                <a:gd name="connsiteX124" fmla="*/ 89738 w 674427"/>
                <a:gd name="connsiteY124" fmla="*/ 264536 h 298273"/>
                <a:gd name="connsiteX125" fmla="*/ 85930 w 674427"/>
                <a:gd name="connsiteY125" fmla="*/ 269294 h 298273"/>
                <a:gd name="connsiteX126" fmla="*/ 84979 w 674427"/>
                <a:gd name="connsiteY126" fmla="*/ 269294 h 298273"/>
                <a:gd name="connsiteX127" fmla="*/ 83075 w 674427"/>
                <a:gd name="connsiteY127" fmla="*/ 271197 h 298273"/>
                <a:gd name="connsiteX128" fmla="*/ 89738 w 674427"/>
                <a:gd name="connsiteY128" fmla="*/ 267391 h 298273"/>
                <a:gd name="connsiteX129" fmla="*/ 91642 w 674427"/>
                <a:gd name="connsiteY129" fmla="*/ 267391 h 298273"/>
                <a:gd name="connsiteX130" fmla="*/ 91642 w 674427"/>
                <a:gd name="connsiteY130" fmla="*/ 267391 h 298273"/>
                <a:gd name="connsiteX131" fmla="*/ 92594 w 674427"/>
                <a:gd name="connsiteY131" fmla="*/ 268343 h 298273"/>
                <a:gd name="connsiteX132" fmla="*/ 92594 w 674427"/>
                <a:gd name="connsiteY132" fmla="*/ 268343 h 298273"/>
                <a:gd name="connsiteX133" fmla="*/ 105920 w 674427"/>
                <a:gd name="connsiteY133" fmla="*/ 261681 h 298273"/>
                <a:gd name="connsiteX134" fmla="*/ 106872 w 674427"/>
                <a:gd name="connsiteY134" fmla="*/ 259778 h 298273"/>
                <a:gd name="connsiteX135" fmla="*/ 119247 w 674427"/>
                <a:gd name="connsiteY135" fmla="*/ 255972 h 298273"/>
                <a:gd name="connsiteX136" fmla="*/ 118295 w 674427"/>
                <a:gd name="connsiteY136" fmla="*/ 254069 h 298273"/>
                <a:gd name="connsiteX137" fmla="*/ 122103 w 674427"/>
                <a:gd name="connsiteY137" fmla="*/ 253117 h 298273"/>
                <a:gd name="connsiteX138" fmla="*/ 126862 w 674427"/>
                <a:gd name="connsiteY138" fmla="*/ 255972 h 298273"/>
                <a:gd name="connsiteX139" fmla="*/ 131622 w 674427"/>
                <a:gd name="connsiteY139" fmla="*/ 254069 h 298273"/>
                <a:gd name="connsiteX140" fmla="*/ 133525 w 674427"/>
                <a:gd name="connsiteY140" fmla="*/ 251214 h 298273"/>
                <a:gd name="connsiteX141" fmla="*/ 139237 w 674427"/>
                <a:gd name="connsiteY141" fmla="*/ 249311 h 298273"/>
                <a:gd name="connsiteX142" fmla="*/ 140189 w 674427"/>
                <a:gd name="connsiteY142" fmla="*/ 251214 h 298273"/>
                <a:gd name="connsiteX143" fmla="*/ 148756 w 674427"/>
                <a:gd name="connsiteY143" fmla="*/ 248360 h 298273"/>
                <a:gd name="connsiteX144" fmla="*/ 155419 w 674427"/>
                <a:gd name="connsiteY144" fmla="*/ 243602 h 298273"/>
                <a:gd name="connsiteX145" fmla="*/ 161131 w 674427"/>
                <a:gd name="connsiteY145" fmla="*/ 238844 h 2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74427" h="298273">
                  <a:moveTo>
                    <a:pt x="161131" y="238844"/>
                  </a:moveTo>
                  <a:lnTo>
                    <a:pt x="163986" y="237892"/>
                  </a:lnTo>
                  <a:cubicBezTo>
                    <a:pt x="155419" y="242650"/>
                    <a:pt x="145900" y="246456"/>
                    <a:pt x="136381" y="250263"/>
                  </a:cubicBezTo>
                  <a:cubicBezTo>
                    <a:pt x="158275" y="244553"/>
                    <a:pt x="183024" y="236941"/>
                    <a:pt x="194447" y="220764"/>
                  </a:cubicBezTo>
                  <a:cubicBezTo>
                    <a:pt x="198255" y="224570"/>
                    <a:pt x="218245" y="216958"/>
                    <a:pt x="218245" y="216006"/>
                  </a:cubicBezTo>
                  <a:cubicBezTo>
                    <a:pt x="222052" y="213152"/>
                    <a:pt x="225860" y="210297"/>
                    <a:pt x="229667" y="208394"/>
                  </a:cubicBezTo>
                  <a:cubicBezTo>
                    <a:pt x="226812" y="210297"/>
                    <a:pt x="224908" y="212200"/>
                    <a:pt x="222052" y="213152"/>
                  </a:cubicBezTo>
                  <a:cubicBezTo>
                    <a:pt x="224908" y="211248"/>
                    <a:pt x="227764" y="209345"/>
                    <a:pt x="229667" y="208394"/>
                  </a:cubicBezTo>
                  <a:cubicBezTo>
                    <a:pt x="254417" y="192217"/>
                    <a:pt x="282974" y="180798"/>
                    <a:pt x="313435" y="169379"/>
                  </a:cubicBezTo>
                  <a:cubicBezTo>
                    <a:pt x="329617" y="162718"/>
                    <a:pt x="374356" y="143687"/>
                    <a:pt x="392442" y="137978"/>
                  </a:cubicBezTo>
                  <a:lnTo>
                    <a:pt x="400057" y="135123"/>
                  </a:lnTo>
                  <a:cubicBezTo>
                    <a:pt x="396250" y="136074"/>
                    <a:pt x="396250" y="136074"/>
                    <a:pt x="391490" y="137978"/>
                  </a:cubicBezTo>
                  <a:cubicBezTo>
                    <a:pt x="401009" y="132268"/>
                    <a:pt x="409576" y="126559"/>
                    <a:pt x="418144" y="121801"/>
                  </a:cubicBezTo>
                  <a:cubicBezTo>
                    <a:pt x="416240" y="121801"/>
                    <a:pt x="415288" y="120849"/>
                    <a:pt x="411480" y="121801"/>
                  </a:cubicBezTo>
                  <a:lnTo>
                    <a:pt x="416240" y="119898"/>
                  </a:lnTo>
                  <a:cubicBezTo>
                    <a:pt x="419095" y="116092"/>
                    <a:pt x="429566" y="112285"/>
                    <a:pt x="433374" y="109430"/>
                  </a:cubicBezTo>
                  <a:cubicBezTo>
                    <a:pt x="432422" y="111334"/>
                    <a:pt x="436230" y="109430"/>
                    <a:pt x="440037" y="108479"/>
                  </a:cubicBezTo>
                  <a:lnTo>
                    <a:pt x="438133" y="108479"/>
                  </a:lnTo>
                  <a:cubicBezTo>
                    <a:pt x="450508" y="103721"/>
                    <a:pt x="463835" y="97060"/>
                    <a:pt x="474306" y="92302"/>
                  </a:cubicBezTo>
                  <a:cubicBezTo>
                    <a:pt x="476209" y="91351"/>
                    <a:pt x="477161" y="91351"/>
                    <a:pt x="478113" y="91351"/>
                  </a:cubicBezTo>
                  <a:lnTo>
                    <a:pt x="488584" y="86593"/>
                  </a:lnTo>
                  <a:cubicBezTo>
                    <a:pt x="488584" y="88496"/>
                    <a:pt x="498103" y="84690"/>
                    <a:pt x="493344" y="87544"/>
                  </a:cubicBezTo>
                  <a:cubicBezTo>
                    <a:pt x="500007" y="82787"/>
                    <a:pt x="508574" y="80883"/>
                    <a:pt x="515237" y="76126"/>
                  </a:cubicBezTo>
                  <a:cubicBezTo>
                    <a:pt x="528564" y="70416"/>
                    <a:pt x="541891" y="64707"/>
                    <a:pt x="555217" y="58997"/>
                  </a:cubicBezTo>
                  <a:cubicBezTo>
                    <a:pt x="568544" y="53288"/>
                    <a:pt x="582822" y="47578"/>
                    <a:pt x="596149" y="40917"/>
                  </a:cubicBezTo>
                  <a:lnTo>
                    <a:pt x="595197" y="40917"/>
                  </a:lnTo>
                  <a:cubicBezTo>
                    <a:pt x="604716" y="36160"/>
                    <a:pt x="612331" y="31402"/>
                    <a:pt x="624706" y="27596"/>
                  </a:cubicBezTo>
                  <a:cubicBezTo>
                    <a:pt x="632321" y="22838"/>
                    <a:pt x="644696" y="18080"/>
                    <a:pt x="646599" y="14274"/>
                  </a:cubicBezTo>
                  <a:cubicBezTo>
                    <a:pt x="656118" y="10467"/>
                    <a:pt x="659926" y="8564"/>
                    <a:pt x="669445" y="4758"/>
                  </a:cubicBezTo>
                  <a:cubicBezTo>
                    <a:pt x="666589" y="3806"/>
                    <a:pt x="678012" y="0"/>
                    <a:pt x="673253" y="0"/>
                  </a:cubicBezTo>
                  <a:cubicBezTo>
                    <a:pt x="666589" y="0"/>
                    <a:pt x="666589" y="1903"/>
                    <a:pt x="659926" y="1903"/>
                  </a:cubicBezTo>
                  <a:lnTo>
                    <a:pt x="659926" y="1903"/>
                  </a:lnTo>
                  <a:cubicBezTo>
                    <a:pt x="633273" y="7613"/>
                    <a:pt x="607572" y="15225"/>
                    <a:pt x="581870" y="23789"/>
                  </a:cubicBezTo>
                  <a:cubicBezTo>
                    <a:pt x="565688" y="31402"/>
                    <a:pt x="546650" y="37111"/>
                    <a:pt x="528564" y="44724"/>
                  </a:cubicBezTo>
                  <a:cubicBezTo>
                    <a:pt x="509526" y="52336"/>
                    <a:pt x="489536" y="61852"/>
                    <a:pt x="474306" y="69465"/>
                  </a:cubicBezTo>
                  <a:cubicBezTo>
                    <a:pt x="470498" y="71368"/>
                    <a:pt x="467642" y="71368"/>
                    <a:pt x="463835" y="72319"/>
                  </a:cubicBezTo>
                  <a:cubicBezTo>
                    <a:pt x="449556" y="78980"/>
                    <a:pt x="430518" y="86593"/>
                    <a:pt x="414336" y="94205"/>
                  </a:cubicBezTo>
                  <a:lnTo>
                    <a:pt x="415288" y="94205"/>
                  </a:lnTo>
                  <a:cubicBezTo>
                    <a:pt x="406721" y="98012"/>
                    <a:pt x="399106" y="99915"/>
                    <a:pt x="390538" y="103721"/>
                  </a:cubicBezTo>
                  <a:cubicBezTo>
                    <a:pt x="390538" y="103721"/>
                    <a:pt x="389587" y="104673"/>
                    <a:pt x="388635" y="105624"/>
                  </a:cubicBezTo>
                  <a:cubicBezTo>
                    <a:pt x="386731" y="104673"/>
                    <a:pt x="340088" y="132268"/>
                    <a:pt x="336280" y="132268"/>
                  </a:cubicBezTo>
                  <a:lnTo>
                    <a:pt x="333424" y="134171"/>
                  </a:lnTo>
                  <a:cubicBezTo>
                    <a:pt x="315338" y="141784"/>
                    <a:pt x="295348" y="146542"/>
                    <a:pt x="280118" y="154154"/>
                  </a:cubicBezTo>
                  <a:cubicBezTo>
                    <a:pt x="277262" y="157009"/>
                    <a:pt x="273455" y="158912"/>
                    <a:pt x="271551" y="161767"/>
                  </a:cubicBezTo>
                  <a:cubicBezTo>
                    <a:pt x="268695" y="161767"/>
                    <a:pt x="268695" y="163670"/>
                    <a:pt x="264888" y="165573"/>
                  </a:cubicBezTo>
                  <a:cubicBezTo>
                    <a:pt x="254417" y="165573"/>
                    <a:pt x="250609" y="169379"/>
                    <a:pt x="255369" y="169379"/>
                  </a:cubicBezTo>
                  <a:cubicBezTo>
                    <a:pt x="248705" y="173186"/>
                    <a:pt x="242042" y="176040"/>
                    <a:pt x="235379" y="178895"/>
                  </a:cubicBezTo>
                  <a:cubicBezTo>
                    <a:pt x="232523" y="180798"/>
                    <a:pt x="229667" y="181750"/>
                    <a:pt x="227764" y="183653"/>
                  </a:cubicBezTo>
                  <a:cubicBezTo>
                    <a:pt x="225860" y="185556"/>
                    <a:pt x="223956" y="185556"/>
                    <a:pt x="222052" y="184604"/>
                  </a:cubicBezTo>
                  <a:cubicBezTo>
                    <a:pt x="216341" y="188411"/>
                    <a:pt x="217293" y="186508"/>
                    <a:pt x="210629" y="189362"/>
                  </a:cubicBezTo>
                  <a:cubicBezTo>
                    <a:pt x="208726" y="188411"/>
                    <a:pt x="195399" y="198878"/>
                    <a:pt x="193495" y="199829"/>
                  </a:cubicBezTo>
                  <a:lnTo>
                    <a:pt x="194447" y="198878"/>
                  </a:lnTo>
                  <a:cubicBezTo>
                    <a:pt x="186832" y="202684"/>
                    <a:pt x="181120" y="201733"/>
                    <a:pt x="173505" y="205539"/>
                  </a:cubicBezTo>
                  <a:cubicBezTo>
                    <a:pt x="152563" y="214103"/>
                    <a:pt x="131622" y="225522"/>
                    <a:pt x="112584" y="235038"/>
                  </a:cubicBezTo>
                  <a:cubicBezTo>
                    <a:pt x="112584" y="235989"/>
                    <a:pt x="116391" y="233134"/>
                    <a:pt x="117343" y="234086"/>
                  </a:cubicBezTo>
                  <a:cubicBezTo>
                    <a:pt x="105920" y="238844"/>
                    <a:pt x="94498" y="242650"/>
                    <a:pt x="83075" y="248360"/>
                  </a:cubicBezTo>
                  <a:cubicBezTo>
                    <a:pt x="81171" y="249311"/>
                    <a:pt x="78315" y="249311"/>
                    <a:pt x="77363" y="249311"/>
                  </a:cubicBezTo>
                  <a:cubicBezTo>
                    <a:pt x="73556" y="250263"/>
                    <a:pt x="75460" y="251214"/>
                    <a:pt x="72604" y="252166"/>
                  </a:cubicBezTo>
                  <a:lnTo>
                    <a:pt x="71652" y="251214"/>
                  </a:lnTo>
                  <a:cubicBezTo>
                    <a:pt x="68796" y="254069"/>
                    <a:pt x="64989" y="252166"/>
                    <a:pt x="62133" y="255021"/>
                  </a:cubicBezTo>
                  <a:cubicBezTo>
                    <a:pt x="62133" y="255972"/>
                    <a:pt x="61181" y="255972"/>
                    <a:pt x="59277" y="256924"/>
                  </a:cubicBezTo>
                  <a:cubicBezTo>
                    <a:pt x="58325" y="255972"/>
                    <a:pt x="55470" y="258827"/>
                    <a:pt x="55470" y="257875"/>
                  </a:cubicBezTo>
                  <a:lnTo>
                    <a:pt x="55470" y="257875"/>
                  </a:lnTo>
                  <a:cubicBezTo>
                    <a:pt x="54518" y="257875"/>
                    <a:pt x="54518" y="258827"/>
                    <a:pt x="53566" y="258827"/>
                  </a:cubicBezTo>
                  <a:cubicBezTo>
                    <a:pt x="52614" y="259778"/>
                    <a:pt x="40239" y="270246"/>
                    <a:pt x="39287" y="271197"/>
                  </a:cubicBezTo>
                  <a:lnTo>
                    <a:pt x="38335" y="271197"/>
                  </a:lnTo>
                  <a:cubicBezTo>
                    <a:pt x="36432" y="272149"/>
                    <a:pt x="35480" y="274052"/>
                    <a:pt x="37384" y="273100"/>
                  </a:cubicBezTo>
                  <a:lnTo>
                    <a:pt x="34528" y="274052"/>
                  </a:lnTo>
                  <a:lnTo>
                    <a:pt x="34528" y="274052"/>
                  </a:lnTo>
                  <a:lnTo>
                    <a:pt x="31672" y="275004"/>
                  </a:lnTo>
                  <a:cubicBezTo>
                    <a:pt x="30720" y="275004"/>
                    <a:pt x="30720" y="275004"/>
                    <a:pt x="30720" y="274052"/>
                  </a:cubicBezTo>
                  <a:cubicBezTo>
                    <a:pt x="29768" y="275004"/>
                    <a:pt x="27865" y="275955"/>
                    <a:pt x="26913" y="276907"/>
                  </a:cubicBezTo>
                  <a:cubicBezTo>
                    <a:pt x="31672" y="275955"/>
                    <a:pt x="36432" y="274052"/>
                    <a:pt x="41191" y="274052"/>
                  </a:cubicBezTo>
                  <a:cubicBezTo>
                    <a:pt x="39287" y="275004"/>
                    <a:pt x="36432" y="275955"/>
                    <a:pt x="34528" y="276907"/>
                  </a:cubicBezTo>
                  <a:cubicBezTo>
                    <a:pt x="31672" y="276907"/>
                    <a:pt x="26913" y="278810"/>
                    <a:pt x="23105" y="279761"/>
                  </a:cubicBezTo>
                  <a:cubicBezTo>
                    <a:pt x="22153" y="279761"/>
                    <a:pt x="22153" y="281664"/>
                    <a:pt x="20249" y="281664"/>
                  </a:cubicBezTo>
                  <a:cubicBezTo>
                    <a:pt x="19297" y="280713"/>
                    <a:pt x="18346" y="282616"/>
                    <a:pt x="16442" y="282616"/>
                  </a:cubicBezTo>
                  <a:cubicBezTo>
                    <a:pt x="17394" y="281664"/>
                    <a:pt x="19297" y="280713"/>
                    <a:pt x="21201" y="279761"/>
                  </a:cubicBezTo>
                  <a:cubicBezTo>
                    <a:pt x="20249" y="278810"/>
                    <a:pt x="16442" y="280713"/>
                    <a:pt x="15490" y="281664"/>
                  </a:cubicBezTo>
                  <a:cubicBezTo>
                    <a:pt x="15490" y="282616"/>
                    <a:pt x="11682" y="283568"/>
                    <a:pt x="9778" y="284519"/>
                  </a:cubicBezTo>
                  <a:cubicBezTo>
                    <a:pt x="9778" y="282616"/>
                    <a:pt x="7875" y="284519"/>
                    <a:pt x="5971" y="284519"/>
                  </a:cubicBezTo>
                  <a:cubicBezTo>
                    <a:pt x="4067" y="285471"/>
                    <a:pt x="4067" y="285471"/>
                    <a:pt x="5019" y="286422"/>
                  </a:cubicBezTo>
                  <a:cubicBezTo>
                    <a:pt x="5019" y="288325"/>
                    <a:pt x="10730" y="284519"/>
                    <a:pt x="9778" y="286422"/>
                  </a:cubicBezTo>
                  <a:cubicBezTo>
                    <a:pt x="8827" y="286422"/>
                    <a:pt x="5971" y="287374"/>
                    <a:pt x="5019" y="288325"/>
                  </a:cubicBezTo>
                  <a:cubicBezTo>
                    <a:pt x="5019" y="289277"/>
                    <a:pt x="5971" y="288325"/>
                    <a:pt x="5971" y="289277"/>
                  </a:cubicBezTo>
                  <a:cubicBezTo>
                    <a:pt x="4067" y="290229"/>
                    <a:pt x="3115" y="291180"/>
                    <a:pt x="1211" y="291180"/>
                  </a:cubicBezTo>
                  <a:lnTo>
                    <a:pt x="2163" y="290229"/>
                  </a:lnTo>
                  <a:cubicBezTo>
                    <a:pt x="259" y="291180"/>
                    <a:pt x="11682" y="280713"/>
                    <a:pt x="8827" y="281664"/>
                  </a:cubicBezTo>
                  <a:cubicBezTo>
                    <a:pt x="9778" y="281664"/>
                    <a:pt x="-1644" y="291180"/>
                    <a:pt x="259" y="291180"/>
                  </a:cubicBezTo>
                  <a:cubicBezTo>
                    <a:pt x="2163" y="291180"/>
                    <a:pt x="259" y="293083"/>
                    <a:pt x="1211" y="292132"/>
                  </a:cubicBezTo>
                  <a:lnTo>
                    <a:pt x="2163" y="290229"/>
                  </a:lnTo>
                  <a:cubicBezTo>
                    <a:pt x="4067" y="289277"/>
                    <a:pt x="5019" y="290229"/>
                    <a:pt x="5019" y="291180"/>
                  </a:cubicBezTo>
                  <a:cubicBezTo>
                    <a:pt x="2163" y="292132"/>
                    <a:pt x="11682" y="282616"/>
                    <a:pt x="8827" y="284519"/>
                  </a:cubicBezTo>
                  <a:lnTo>
                    <a:pt x="9778" y="284519"/>
                  </a:lnTo>
                  <a:cubicBezTo>
                    <a:pt x="8827" y="285471"/>
                    <a:pt x="5971" y="287374"/>
                    <a:pt x="5019" y="287374"/>
                  </a:cubicBezTo>
                  <a:cubicBezTo>
                    <a:pt x="5019" y="288325"/>
                    <a:pt x="4067" y="289277"/>
                    <a:pt x="3115" y="290229"/>
                  </a:cubicBezTo>
                  <a:lnTo>
                    <a:pt x="2163" y="290229"/>
                  </a:lnTo>
                  <a:cubicBezTo>
                    <a:pt x="1211" y="291180"/>
                    <a:pt x="-692" y="292132"/>
                    <a:pt x="259" y="292132"/>
                  </a:cubicBezTo>
                  <a:cubicBezTo>
                    <a:pt x="7875" y="288325"/>
                    <a:pt x="-1644" y="300696"/>
                    <a:pt x="5971" y="297841"/>
                  </a:cubicBezTo>
                  <a:cubicBezTo>
                    <a:pt x="2163" y="297841"/>
                    <a:pt x="5971" y="295938"/>
                    <a:pt x="9778" y="294035"/>
                  </a:cubicBezTo>
                  <a:cubicBezTo>
                    <a:pt x="10730" y="294035"/>
                    <a:pt x="11682" y="294035"/>
                    <a:pt x="14538" y="294035"/>
                  </a:cubicBezTo>
                  <a:cubicBezTo>
                    <a:pt x="16442" y="293083"/>
                    <a:pt x="15490" y="293083"/>
                    <a:pt x="15490" y="292132"/>
                  </a:cubicBezTo>
                  <a:cubicBezTo>
                    <a:pt x="16442" y="292132"/>
                    <a:pt x="19297" y="291180"/>
                    <a:pt x="19297" y="292132"/>
                  </a:cubicBezTo>
                  <a:cubicBezTo>
                    <a:pt x="20249" y="290229"/>
                    <a:pt x="22153" y="291180"/>
                    <a:pt x="24057" y="290229"/>
                  </a:cubicBezTo>
                  <a:cubicBezTo>
                    <a:pt x="25961" y="289277"/>
                    <a:pt x="24057" y="290229"/>
                    <a:pt x="25009" y="289277"/>
                  </a:cubicBezTo>
                  <a:cubicBezTo>
                    <a:pt x="27865" y="288325"/>
                    <a:pt x="30720" y="286422"/>
                    <a:pt x="32624" y="285471"/>
                  </a:cubicBezTo>
                  <a:cubicBezTo>
                    <a:pt x="33576" y="285471"/>
                    <a:pt x="36432" y="285471"/>
                    <a:pt x="35480" y="288325"/>
                  </a:cubicBezTo>
                  <a:cubicBezTo>
                    <a:pt x="31672" y="290229"/>
                    <a:pt x="36432" y="285471"/>
                    <a:pt x="32624" y="288325"/>
                  </a:cubicBezTo>
                  <a:cubicBezTo>
                    <a:pt x="35480" y="289277"/>
                    <a:pt x="29768" y="290229"/>
                    <a:pt x="29768" y="292132"/>
                  </a:cubicBezTo>
                  <a:cubicBezTo>
                    <a:pt x="31672" y="292132"/>
                    <a:pt x="33576" y="291180"/>
                    <a:pt x="35480" y="290229"/>
                  </a:cubicBezTo>
                  <a:lnTo>
                    <a:pt x="34528" y="290229"/>
                  </a:lnTo>
                  <a:cubicBezTo>
                    <a:pt x="36432" y="289277"/>
                    <a:pt x="40239" y="287374"/>
                    <a:pt x="42143" y="286422"/>
                  </a:cubicBezTo>
                  <a:cubicBezTo>
                    <a:pt x="42143" y="287374"/>
                    <a:pt x="43095" y="287374"/>
                    <a:pt x="42143" y="288325"/>
                  </a:cubicBezTo>
                  <a:lnTo>
                    <a:pt x="44999" y="287374"/>
                  </a:lnTo>
                  <a:cubicBezTo>
                    <a:pt x="44999" y="287374"/>
                    <a:pt x="44999" y="286422"/>
                    <a:pt x="44999" y="287374"/>
                  </a:cubicBezTo>
                  <a:cubicBezTo>
                    <a:pt x="45951" y="286422"/>
                    <a:pt x="46903" y="286422"/>
                    <a:pt x="48806" y="285471"/>
                  </a:cubicBezTo>
                  <a:cubicBezTo>
                    <a:pt x="49758" y="285471"/>
                    <a:pt x="61181" y="275955"/>
                    <a:pt x="61181" y="276907"/>
                  </a:cubicBezTo>
                  <a:cubicBezTo>
                    <a:pt x="63085" y="275955"/>
                    <a:pt x="64037" y="276907"/>
                    <a:pt x="64989" y="275004"/>
                  </a:cubicBezTo>
                  <a:cubicBezTo>
                    <a:pt x="64989" y="274052"/>
                    <a:pt x="48806" y="285471"/>
                    <a:pt x="50710" y="284519"/>
                  </a:cubicBezTo>
                  <a:cubicBezTo>
                    <a:pt x="52614" y="284519"/>
                    <a:pt x="69748" y="271197"/>
                    <a:pt x="71652" y="272149"/>
                  </a:cubicBezTo>
                  <a:cubicBezTo>
                    <a:pt x="72604" y="271197"/>
                    <a:pt x="74508" y="270246"/>
                    <a:pt x="73556" y="270246"/>
                  </a:cubicBezTo>
                  <a:cubicBezTo>
                    <a:pt x="76411" y="269294"/>
                    <a:pt x="73556" y="272149"/>
                    <a:pt x="75460" y="271197"/>
                  </a:cubicBezTo>
                  <a:lnTo>
                    <a:pt x="75460" y="271197"/>
                  </a:lnTo>
                  <a:lnTo>
                    <a:pt x="77363" y="271197"/>
                  </a:lnTo>
                  <a:cubicBezTo>
                    <a:pt x="80219" y="268343"/>
                    <a:pt x="85930" y="267391"/>
                    <a:pt x="89738" y="264536"/>
                  </a:cubicBezTo>
                  <a:cubicBezTo>
                    <a:pt x="88786" y="265488"/>
                    <a:pt x="88786" y="267391"/>
                    <a:pt x="85930" y="269294"/>
                  </a:cubicBezTo>
                  <a:lnTo>
                    <a:pt x="84979" y="269294"/>
                  </a:lnTo>
                  <a:lnTo>
                    <a:pt x="83075" y="271197"/>
                  </a:lnTo>
                  <a:cubicBezTo>
                    <a:pt x="85930" y="270246"/>
                    <a:pt x="87834" y="269294"/>
                    <a:pt x="89738" y="267391"/>
                  </a:cubicBezTo>
                  <a:cubicBezTo>
                    <a:pt x="90690" y="267391"/>
                    <a:pt x="90690" y="267391"/>
                    <a:pt x="91642" y="267391"/>
                  </a:cubicBezTo>
                  <a:lnTo>
                    <a:pt x="91642" y="267391"/>
                  </a:lnTo>
                  <a:cubicBezTo>
                    <a:pt x="92594" y="267391"/>
                    <a:pt x="92594" y="267391"/>
                    <a:pt x="92594" y="268343"/>
                  </a:cubicBezTo>
                  <a:lnTo>
                    <a:pt x="92594" y="268343"/>
                  </a:lnTo>
                  <a:cubicBezTo>
                    <a:pt x="94498" y="269294"/>
                    <a:pt x="101161" y="262633"/>
                    <a:pt x="105920" y="261681"/>
                  </a:cubicBezTo>
                  <a:cubicBezTo>
                    <a:pt x="106872" y="260730"/>
                    <a:pt x="105920" y="261681"/>
                    <a:pt x="106872" y="259778"/>
                  </a:cubicBezTo>
                  <a:cubicBezTo>
                    <a:pt x="111632" y="258827"/>
                    <a:pt x="114487" y="257875"/>
                    <a:pt x="119247" y="255972"/>
                  </a:cubicBezTo>
                  <a:cubicBezTo>
                    <a:pt x="120199" y="254069"/>
                    <a:pt x="120199" y="254069"/>
                    <a:pt x="118295" y="254069"/>
                  </a:cubicBezTo>
                  <a:lnTo>
                    <a:pt x="122103" y="253117"/>
                  </a:lnTo>
                  <a:cubicBezTo>
                    <a:pt x="120199" y="256924"/>
                    <a:pt x="129718" y="252166"/>
                    <a:pt x="126862" y="255972"/>
                  </a:cubicBezTo>
                  <a:cubicBezTo>
                    <a:pt x="127814" y="255972"/>
                    <a:pt x="129718" y="255021"/>
                    <a:pt x="131622" y="254069"/>
                  </a:cubicBezTo>
                  <a:cubicBezTo>
                    <a:pt x="131622" y="253117"/>
                    <a:pt x="131622" y="252166"/>
                    <a:pt x="133525" y="251214"/>
                  </a:cubicBezTo>
                  <a:cubicBezTo>
                    <a:pt x="137333" y="250263"/>
                    <a:pt x="136381" y="250263"/>
                    <a:pt x="139237" y="249311"/>
                  </a:cubicBezTo>
                  <a:cubicBezTo>
                    <a:pt x="140189" y="249311"/>
                    <a:pt x="139237" y="250263"/>
                    <a:pt x="140189" y="251214"/>
                  </a:cubicBezTo>
                  <a:cubicBezTo>
                    <a:pt x="143996" y="248360"/>
                    <a:pt x="144948" y="251214"/>
                    <a:pt x="148756" y="248360"/>
                  </a:cubicBezTo>
                  <a:cubicBezTo>
                    <a:pt x="151612" y="247408"/>
                    <a:pt x="156371" y="244553"/>
                    <a:pt x="155419" y="243602"/>
                  </a:cubicBezTo>
                  <a:cubicBezTo>
                    <a:pt x="161131" y="236941"/>
                    <a:pt x="161131" y="237892"/>
                    <a:pt x="161131" y="238844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  <p:sp>
          <p:nvSpPr>
            <p:cNvPr id="12" name="Kombinationstegning 11">
              <a:extLst>
                <a:ext uri="{FF2B5EF4-FFF2-40B4-BE49-F238E27FC236}">
                  <a16:creationId xmlns:a16="http://schemas.microsoft.com/office/drawing/2014/main" id="{82041656-5DF5-7545-B85B-7EC994BC2117}"/>
                </a:ext>
              </a:extLst>
            </p:cNvPr>
            <p:cNvSpPr/>
            <p:nvPr/>
          </p:nvSpPr>
          <p:spPr>
            <a:xfrm>
              <a:off x="4230253" y="1614978"/>
              <a:ext cx="327509" cy="227766"/>
            </a:xfrm>
            <a:custGeom>
              <a:avLst/>
              <a:gdLst>
                <a:gd name="connsiteX0" fmla="*/ 139034 w 327509"/>
                <a:gd name="connsiteY0" fmla="*/ 58997 h 227766"/>
                <a:gd name="connsiteX1" fmla="*/ 141889 w 327509"/>
                <a:gd name="connsiteY1" fmla="*/ 58997 h 227766"/>
                <a:gd name="connsiteX2" fmla="*/ 116188 w 327509"/>
                <a:gd name="connsiteY2" fmla="*/ 61852 h 227766"/>
                <a:gd name="connsiteX3" fmla="*/ 170446 w 327509"/>
                <a:gd name="connsiteY3" fmla="*/ 51385 h 227766"/>
                <a:gd name="connsiteX4" fmla="*/ 191388 w 327509"/>
                <a:gd name="connsiteY4" fmla="*/ 54239 h 227766"/>
                <a:gd name="connsiteX5" fmla="*/ 201859 w 327509"/>
                <a:gd name="connsiteY5" fmla="*/ 50433 h 227766"/>
                <a:gd name="connsiteX6" fmla="*/ 194244 w 327509"/>
                <a:gd name="connsiteY6" fmla="*/ 53288 h 227766"/>
                <a:gd name="connsiteX7" fmla="*/ 201859 w 327509"/>
                <a:gd name="connsiteY7" fmla="*/ 50433 h 227766"/>
                <a:gd name="connsiteX8" fmla="*/ 210426 w 327509"/>
                <a:gd name="connsiteY8" fmla="*/ 47578 h 227766"/>
                <a:gd name="connsiteX9" fmla="*/ 218041 w 327509"/>
                <a:gd name="connsiteY9" fmla="*/ 45675 h 227766"/>
                <a:gd name="connsiteX10" fmla="*/ 224705 w 327509"/>
                <a:gd name="connsiteY10" fmla="*/ 43772 h 227766"/>
                <a:gd name="connsiteX11" fmla="*/ 231368 w 327509"/>
                <a:gd name="connsiteY11" fmla="*/ 44724 h 227766"/>
                <a:gd name="connsiteX12" fmla="*/ 231368 w 327509"/>
                <a:gd name="connsiteY12" fmla="*/ 44724 h 227766"/>
                <a:gd name="connsiteX13" fmla="*/ 230416 w 327509"/>
                <a:gd name="connsiteY13" fmla="*/ 45675 h 227766"/>
                <a:gd name="connsiteX14" fmla="*/ 225657 w 327509"/>
                <a:gd name="connsiteY14" fmla="*/ 48530 h 227766"/>
                <a:gd name="connsiteX15" fmla="*/ 219945 w 327509"/>
                <a:gd name="connsiteY15" fmla="*/ 51385 h 227766"/>
                <a:gd name="connsiteX16" fmla="*/ 218993 w 327509"/>
                <a:gd name="connsiteY16" fmla="*/ 51385 h 227766"/>
                <a:gd name="connsiteX17" fmla="*/ 219945 w 327509"/>
                <a:gd name="connsiteY17" fmla="*/ 51385 h 227766"/>
                <a:gd name="connsiteX18" fmla="*/ 220897 w 327509"/>
                <a:gd name="connsiteY18" fmla="*/ 53288 h 227766"/>
                <a:gd name="connsiteX19" fmla="*/ 220897 w 327509"/>
                <a:gd name="connsiteY19" fmla="*/ 53288 h 227766"/>
                <a:gd name="connsiteX20" fmla="*/ 219945 w 327509"/>
                <a:gd name="connsiteY20" fmla="*/ 54239 h 227766"/>
                <a:gd name="connsiteX21" fmla="*/ 218041 w 327509"/>
                <a:gd name="connsiteY21" fmla="*/ 56143 h 227766"/>
                <a:gd name="connsiteX22" fmla="*/ 213282 w 327509"/>
                <a:gd name="connsiteY22" fmla="*/ 60900 h 227766"/>
                <a:gd name="connsiteX23" fmla="*/ 218993 w 327509"/>
                <a:gd name="connsiteY23" fmla="*/ 59949 h 227766"/>
                <a:gd name="connsiteX24" fmla="*/ 215186 w 327509"/>
                <a:gd name="connsiteY24" fmla="*/ 61852 h 227766"/>
                <a:gd name="connsiteX25" fmla="*/ 203763 w 327509"/>
                <a:gd name="connsiteY25" fmla="*/ 75174 h 227766"/>
                <a:gd name="connsiteX26" fmla="*/ 199003 w 327509"/>
                <a:gd name="connsiteY26" fmla="*/ 77077 h 227766"/>
                <a:gd name="connsiteX27" fmla="*/ 199955 w 327509"/>
                <a:gd name="connsiteY27" fmla="*/ 77077 h 227766"/>
                <a:gd name="connsiteX28" fmla="*/ 174254 w 327509"/>
                <a:gd name="connsiteY28" fmla="*/ 98011 h 227766"/>
                <a:gd name="connsiteX29" fmla="*/ 171398 w 327509"/>
                <a:gd name="connsiteY29" fmla="*/ 98963 h 227766"/>
                <a:gd name="connsiteX30" fmla="*/ 164735 w 327509"/>
                <a:gd name="connsiteY30" fmla="*/ 105624 h 227766"/>
                <a:gd name="connsiteX31" fmla="*/ 160927 w 327509"/>
                <a:gd name="connsiteY31" fmla="*/ 105624 h 227766"/>
                <a:gd name="connsiteX32" fmla="*/ 146649 w 327509"/>
                <a:gd name="connsiteY32" fmla="*/ 120849 h 227766"/>
                <a:gd name="connsiteX33" fmla="*/ 91439 w 327509"/>
                <a:gd name="connsiteY33" fmla="*/ 170331 h 227766"/>
                <a:gd name="connsiteX34" fmla="*/ 92391 w 327509"/>
                <a:gd name="connsiteY34" fmla="*/ 170331 h 227766"/>
                <a:gd name="connsiteX35" fmla="*/ 73353 w 327509"/>
                <a:gd name="connsiteY35" fmla="*/ 189362 h 227766"/>
                <a:gd name="connsiteX36" fmla="*/ 60978 w 327509"/>
                <a:gd name="connsiteY36" fmla="*/ 207442 h 227766"/>
                <a:gd name="connsiteX37" fmla="*/ 46699 w 327509"/>
                <a:gd name="connsiteY37" fmla="*/ 222667 h 227766"/>
                <a:gd name="connsiteX38" fmla="*/ 45747 w 327509"/>
                <a:gd name="connsiteY38" fmla="*/ 227425 h 227766"/>
                <a:gd name="connsiteX39" fmla="*/ 55266 w 327509"/>
                <a:gd name="connsiteY39" fmla="*/ 221715 h 227766"/>
                <a:gd name="connsiteX40" fmla="*/ 55266 w 327509"/>
                <a:gd name="connsiteY40" fmla="*/ 221715 h 227766"/>
                <a:gd name="connsiteX41" fmla="*/ 110477 w 327509"/>
                <a:gd name="connsiteY41" fmla="*/ 182701 h 227766"/>
                <a:gd name="connsiteX42" fmla="*/ 146649 w 327509"/>
                <a:gd name="connsiteY42" fmla="*/ 152251 h 227766"/>
                <a:gd name="connsiteX43" fmla="*/ 183773 w 327509"/>
                <a:gd name="connsiteY43" fmla="*/ 118946 h 227766"/>
                <a:gd name="connsiteX44" fmla="*/ 191388 w 327509"/>
                <a:gd name="connsiteY44" fmla="*/ 114188 h 227766"/>
                <a:gd name="connsiteX45" fmla="*/ 226608 w 327509"/>
                <a:gd name="connsiteY45" fmla="*/ 84690 h 227766"/>
                <a:gd name="connsiteX46" fmla="*/ 225657 w 327509"/>
                <a:gd name="connsiteY46" fmla="*/ 84690 h 227766"/>
                <a:gd name="connsiteX47" fmla="*/ 234224 w 327509"/>
                <a:gd name="connsiteY47" fmla="*/ 78029 h 227766"/>
                <a:gd name="connsiteX48" fmla="*/ 238983 w 327509"/>
                <a:gd name="connsiteY48" fmla="*/ 75174 h 227766"/>
                <a:gd name="connsiteX49" fmla="*/ 240887 w 327509"/>
                <a:gd name="connsiteY49" fmla="*/ 73271 h 227766"/>
                <a:gd name="connsiteX50" fmla="*/ 244695 w 327509"/>
                <a:gd name="connsiteY50" fmla="*/ 70416 h 227766"/>
                <a:gd name="connsiteX51" fmla="*/ 246598 w 327509"/>
                <a:gd name="connsiteY51" fmla="*/ 68513 h 227766"/>
                <a:gd name="connsiteX52" fmla="*/ 275155 w 327509"/>
                <a:gd name="connsiteY52" fmla="*/ 43772 h 227766"/>
                <a:gd name="connsiteX53" fmla="*/ 300857 w 327509"/>
                <a:gd name="connsiteY53" fmla="*/ 20934 h 227766"/>
                <a:gd name="connsiteX54" fmla="*/ 302760 w 327509"/>
                <a:gd name="connsiteY54" fmla="*/ 19031 h 227766"/>
                <a:gd name="connsiteX55" fmla="*/ 320847 w 327509"/>
                <a:gd name="connsiteY55" fmla="*/ 5709 h 227766"/>
                <a:gd name="connsiteX56" fmla="*/ 325606 w 327509"/>
                <a:gd name="connsiteY56" fmla="*/ 1903 h 227766"/>
                <a:gd name="connsiteX57" fmla="*/ 326558 w 327509"/>
                <a:gd name="connsiteY57" fmla="*/ 951 h 227766"/>
                <a:gd name="connsiteX58" fmla="*/ 327510 w 327509"/>
                <a:gd name="connsiteY58" fmla="*/ 0 h 227766"/>
                <a:gd name="connsiteX59" fmla="*/ 325606 w 327509"/>
                <a:gd name="connsiteY59" fmla="*/ 0 h 227766"/>
                <a:gd name="connsiteX60" fmla="*/ 318943 w 327509"/>
                <a:gd name="connsiteY60" fmla="*/ 0 h 227766"/>
                <a:gd name="connsiteX61" fmla="*/ 285626 w 327509"/>
                <a:gd name="connsiteY61" fmla="*/ 3806 h 227766"/>
                <a:gd name="connsiteX62" fmla="*/ 265636 w 327509"/>
                <a:gd name="connsiteY62" fmla="*/ 10467 h 227766"/>
                <a:gd name="connsiteX63" fmla="*/ 255165 w 327509"/>
                <a:gd name="connsiteY63" fmla="*/ 13322 h 227766"/>
                <a:gd name="connsiteX64" fmla="*/ 244695 w 327509"/>
                <a:gd name="connsiteY64" fmla="*/ 12370 h 227766"/>
                <a:gd name="connsiteX65" fmla="*/ 243743 w 327509"/>
                <a:gd name="connsiteY65" fmla="*/ 14274 h 227766"/>
                <a:gd name="connsiteX66" fmla="*/ 216138 w 327509"/>
                <a:gd name="connsiteY66" fmla="*/ 19983 h 227766"/>
                <a:gd name="connsiteX67" fmla="*/ 213282 w 327509"/>
                <a:gd name="connsiteY67" fmla="*/ 20934 h 227766"/>
                <a:gd name="connsiteX68" fmla="*/ 211378 w 327509"/>
                <a:gd name="connsiteY68" fmla="*/ 21886 h 227766"/>
                <a:gd name="connsiteX69" fmla="*/ 207570 w 327509"/>
                <a:gd name="connsiteY69" fmla="*/ 22838 h 227766"/>
                <a:gd name="connsiteX70" fmla="*/ 202811 w 327509"/>
                <a:gd name="connsiteY70" fmla="*/ 22838 h 227766"/>
                <a:gd name="connsiteX71" fmla="*/ 192340 w 327509"/>
                <a:gd name="connsiteY71" fmla="*/ 23789 h 227766"/>
                <a:gd name="connsiteX72" fmla="*/ 176158 w 327509"/>
                <a:gd name="connsiteY72" fmla="*/ 28547 h 227766"/>
                <a:gd name="connsiteX73" fmla="*/ 177110 w 327509"/>
                <a:gd name="connsiteY73" fmla="*/ 28547 h 227766"/>
                <a:gd name="connsiteX74" fmla="*/ 159024 w 327509"/>
                <a:gd name="connsiteY74" fmla="*/ 28547 h 227766"/>
                <a:gd name="connsiteX75" fmla="*/ 102861 w 327509"/>
                <a:gd name="connsiteY75" fmla="*/ 37111 h 227766"/>
                <a:gd name="connsiteX76" fmla="*/ 106669 w 327509"/>
                <a:gd name="connsiteY76" fmla="*/ 38063 h 227766"/>
                <a:gd name="connsiteX77" fmla="*/ 76208 w 327509"/>
                <a:gd name="connsiteY77" fmla="*/ 39966 h 227766"/>
                <a:gd name="connsiteX78" fmla="*/ 71449 w 327509"/>
                <a:gd name="connsiteY78" fmla="*/ 39014 h 227766"/>
                <a:gd name="connsiteX79" fmla="*/ 67641 w 327509"/>
                <a:gd name="connsiteY79" fmla="*/ 39966 h 227766"/>
                <a:gd name="connsiteX80" fmla="*/ 66689 w 327509"/>
                <a:gd name="connsiteY80" fmla="*/ 39014 h 227766"/>
                <a:gd name="connsiteX81" fmla="*/ 58122 w 327509"/>
                <a:gd name="connsiteY81" fmla="*/ 39014 h 227766"/>
                <a:gd name="connsiteX82" fmla="*/ 55266 w 327509"/>
                <a:gd name="connsiteY82" fmla="*/ 39966 h 227766"/>
                <a:gd name="connsiteX83" fmla="*/ 51459 w 327509"/>
                <a:gd name="connsiteY83" fmla="*/ 39014 h 227766"/>
                <a:gd name="connsiteX84" fmla="*/ 51459 w 327509"/>
                <a:gd name="connsiteY84" fmla="*/ 39014 h 227766"/>
                <a:gd name="connsiteX85" fmla="*/ 49555 w 327509"/>
                <a:gd name="connsiteY85" fmla="*/ 39014 h 227766"/>
                <a:gd name="connsiteX86" fmla="*/ 35277 w 327509"/>
                <a:gd name="connsiteY86" fmla="*/ 45675 h 227766"/>
                <a:gd name="connsiteX87" fmla="*/ 34325 w 327509"/>
                <a:gd name="connsiteY87" fmla="*/ 45675 h 227766"/>
                <a:gd name="connsiteX88" fmla="*/ 32421 w 327509"/>
                <a:gd name="connsiteY88" fmla="*/ 47578 h 227766"/>
                <a:gd name="connsiteX89" fmla="*/ 30517 w 327509"/>
                <a:gd name="connsiteY89" fmla="*/ 47578 h 227766"/>
                <a:gd name="connsiteX90" fmla="*/ 30517 w 327509"/>
                <a:gd name="connsiteY90" fmla="*/ 47578 h 227766"/>
                <a:gd name="connsiteX91" fmla="*/ 28613 w 327509"/>
                <a:gd name="connsiteY91" fmla="*/ 47578 h 227766"/>
                <a:gd name="connsiteX92" fmla="*/ 28613 w 327509"/>
                <a:gd name="connsiteY92" fmla="*/ 46627 h 227766"/>
                <a:gd name="connsiteX93" fmla="*/ 24806 w 327509"/>
                <a:gd name="connsiteY93" fmla="*/ 47578 h 227766"/>
                <a:gd name="connsiteX94" fmla="*/ 37180 w 327509"/>
                <a:gd name="connsiteY94" fmla="*/ 49482 h 227766"/>
                <a:gd name="connsiteX95" fmla="*/ 31469 w 327509"/>
                <a:gd name="connsiteY95" fmla="*/ 50433 h 227766"/>
                <a:gd name="connsiteX96" fmla="*/ 21950 w 327509"/>
                <a:gd name="connsiteY96" fmla="*/ 49482 h 227766"/>
                <a:gd name="connsiteX97" fmla="*/ 19094 w 327509"/>
                <a:gd name="connsiteY97" fmla="*/ 50433 h 227766"/>
                <a:gd name="connsiteX98" fmla="*/ 16239 w 327509"/>
                <a:gd name="connsiteY98" fmla="*/ 50433 h 227766"/>
                <a:gd name="connsiteX99" fmla="*/ 20998 w 327509"/>
                <a:gd name="connsiteY99" fmla="*/ 49482 h 227766"/>
                <a:gd name="connsiteX100" fmla="*/ 16239 w 327509"/>
                <a:gd name="connsiteY100" fmla="*/ 48530 h 227766"/>
                <a:gd name="connsiteX101" fmla="*/ 10527 w 327509"/>
                <a:gd name="connsiteY101" fmla="*/ 49482 h 227766"/>
                <a:gd name="connsiteX102" fmla="*/ 7672 w 327509"/>
                <a:gd name="connsiteY102" fmla="*/ 48530 h 227766"/>
                <a:gd name="connsiteX103" fmla="*/ 5768 w 327509"/>
                <a:gd name="connsiteY103" fmla="*/ 49482 h 227766"/>
                <a:gd name="connsiteX104" fmla="*/ 9575 w 327509"/>
                <a:gd name="connsiteY104" fmla="*/ 51385 h 227766"/>
                <a:gd name="connsiteX105" fmla="*/ 4816 w 327509"/>
                <a:gd name="connsiteY105" fmla="*/ 51385 h 227766"/>
                <a:gd name="connsiteX106" fmla="*/ 4816 w 327509"/>
                <a:gd name="connsiteY106" fmla="*/ 52336 h 227766"/>
                <a:gd name="connsiteX107" fmla="*/ 1008 w 327509"/>
                <a:gd name="connsiteY107" fmla="*/ 52336 h 227766"/>
                <a:gd name="connsiteX108" fmla="*/ 1960 w 327509"/>
                <a:gd name="connsiteY108" fmla="*/ 52336 h 227766"/>
                <a:gd name="connsiteX109" fmla="*/ 9575 w 327509"/>
                <a:gd name="connsiteY109" fmla="*/ 47578 h 227766"/>
                <a:gd name="connsiteX110" fmla="*/ 56 w 327509"/>
                <a:gd name="connsiteY110" fmla="*/ 52336 h 227766"/>
                <a:gd name="connsiteX111" fmla="*/ 1008 w 327509"/>
                <a:gd name="connsiteY111" fmla="*/ 54239 h 227766"/>
                <a:gd name="connsiteX112" fmla="*/ 1960 w 327509"/>
                <a:gd name="connsiteY112" fmla="*/ 53288 h 227766"/>
                <a:gd name="connsiteX113" fmla="*/ 3864 w 327509"/>
                <a:gd name="connsiteY113" fmla="*/ 55191 h 227766"/>
                <a:gd name="connsiteX114" fmla="*/ 9575 w 327509"/>
                <a:gd name="connsiteY114" fmla="*/ 50433 h 227766"/>
                <a:gd name="connsiteX115" fmla="*/ 10527 w 327509"/>
                <a:gd name="connsiteY115" fmla="*/ 50433 h 227766"/>
                <a:gd name="connsiteX116" fmla="*/ 5768 w 327509"/>
                <a:gd name="connsiteY116" fmla="*/ 51385 h 227766"/>
                <a:gd name="connsiteX117" fmla="*/ 2912 w 327509"/>
                <a:gd name="connsiteY117" fmla="*/ 53288 h 227766"/>
                <a:gd name="connsiteX118" fmla="*/ 2912 w 327509"/>
                <a:gd name="connsiteY118" fmla="*/ 53288 h 227766"/>
                <a:gd name="connsiteX119" fmla="*/ 1008 w 327509"/>
                <a:gd name="connsiteY119" fmla="*/ 54239 h 227766"/>
                <a:gd name="connsiteX120" fmla="*/ 3864 w 327509"/>
                <a:gd name="connsiteY120" fmla="*/ 61852 h 227766"/>
                <a:gd name="connsiteX121" fmla="*/ 7672 w 327509"/>
                <a:gd name="connsiteY121" fmla="*/ 59949 h 227766"/>
                <a:gd name="connsiteX122" fmla="*/ 11479 w 327509"/>
                <a:gd name="connsiteY122" fmla="*/ 61852 h 227766"/>
                <a:gd name="connsiteX123" fmla="*/ 12431 w 327509"/>
                <a:gd name="connsiteY123" fmla="*/ 60900 h 227766"/>
                <a:gd name="connsiteX124" fmla="*/ 15287 w 327509"/>
                <a:gd name="connsiteY124" fmla="*/ 61852 h 227766"/>
                <a:gd name="connsiteX125" fmla="*/ 19094 w 327509"/>
                <a:gd name="connsiteY125" fmla="*/ 61852 h 227766"/>
                <a:gd name="connsiteX126" fmla="*/ 20046 w 327509"/>
                <a:gd name="connsiteY126" fmla="*/ 60900 h 227766"/>
                <a:gd name="connsiteX127" fmla="*/ 27661 w 327509"/>
                <a:gd name="connsiteY127" fmla="*/ 60900 h 227766"/>
                <a:gd name="connsiteX128" fmla="*/ 29565 w 327509"/>
                <a:gd name="connsiteY128" fmla="*/ 63755 h 227766"/>
                <a:gd name="connsiteX129" fmla="*/ 26709 w 327509"/>
                <a:gd name="connsiteY129" fmla="*/ 61852 h 227766"/>
                <a:gd name="connsiteX130" fmla="*/ 22902 w 327509"/>
                <a:gd name="connsiteY130" fmla="*/ 63755 h 227766"/>
                <a:gd name="connsiteX131" fmla="*/ 28613 w 327509"/>
                <a:gd name="connsiteY131" fmla="*/ 63755 h 227766"/>
                <a:gd name="connsiteX132" fmla="*/ 28613 w 327509"/>
                <a:gd name="connsiteY132" fmla="*/ 63755 h 227766"/>
                <a:gd name="connsiteX133" fmla="*/ 35277 w 327509"/>
                <a:gd name="connsiteY133" fmla="*/ 63755 h 227766"/>
                <a:gd name="connsiteX134" fmla="*/ 34325 w 327509"/>
                <a:gd name="connsiteY134" fmla="*/ 64707 h 227766"/>
                <a:gd name="connsiteX135" fmla="*/ 37180 w 327509"/>
                <a:gd name="connsiteY135" fmla="*/ 64707 h 227766"/>
                <a:gd name="connsiteX136" fmla="*/ 37180 w 327509"/>
                <a:gd name="connsiteY136" fmla="*/ 63755 h 227766"/>
                <a:gd name="connsiteX137" fmla="*/ 40036 w 327509"/>
                <a:gd name="connsiteY137" fmla="*/ 63755 h 227766"/>
                <a:gd name="connsiteX138" fmla="*/ 52411 w 327509"/>
                <a:gd name="connsiteY138" fmla="*/ 59949 h 227766"/>
                <a:gd name="connsiteX139" fmla="*/ 56218 w 327509"/>
                <a:gd name="connsiteY139" fmla="*/ 59949 h 227766"/>
                <a:gd name="connsiteX140" fmla="*/ 42892 w 327509"/>
                <a:gd name="connsiteY140" fmla="*/ 63755 h 227766"/>
                <a:gd name="connsiteX141" fmla="*/ 62882 w 327509"/>
                <a:gd name="connsiteY141" fmla="*/ 58997 h 227766"/>
                <a:gd name="connsiteX142" fmla="*/ 64785 w 327509"/>
                <a:gd name="connsiteY142" fmla="*/ 58046 h 227766"/>
                <a:gd name="connsiteX143" fmla="*/ 65737 w 327509"/>
                <a:gd name="connsiteY143" fmla="*/ 59949 h 227766"/>
                <a:gd name="connsiteX144" fmla="*/ 65737 w 327509"/>
                <a:gd name="connsiteY144" fmla="*/ 59949 h 227766"/>
                <a:gd name="connsiteX145" fmla="*/ 67641 w 327509"/>
                <a:gd name="connsiteY145" fmla="*/ 60900 h 227766"/>
                <a:gd name="connsiteX146" fmla="*/ 79064 w 327509"/>
                <a:gd name="connsiteY146" fmla="*/ 58046 h 227766"/>
                <a:gd name="connsiteX147" fmla="*/ 75256 w 327509"/>
                <a:gd name="connsiteY147" fmla="*/ 60900 h 227766"/>
                <a:gd name="connsiteX148" fmla="*/ 75256 w 327509"/>
                <a:gd name="connsiteY148" fmla="*/ 60900 h 227766"/>
                <a:gd name="connsiteX149" fmla="*/ 73353 w 327509"/>
                <a:gd name="connsiteY149" fmla="*/ 61852 h 227766"/>
                <a:gd name="connsiteX150" fmla="*/ 79064 w 327509"/>
                <a:gd name="connsiteY150" fmla="*/ 60900 h 227766"/>
                <a:gd name="connsiteX151" fmla="*/ 80016 w 327509"/>
                <a:gd name="connsiteY151" fmla="*/ 60900 h 227766"/>
                <a:gd name="connsiteX152" fmla="*/ 80016 w 327509"/>
                <a:gd name="connsiteY152" fmla="*/ 60900 h 227766"/>
                <a:gd name="connsiteX153" fmla="*/ 80968 w 327509"/>
                <a:gd name="connsiteY153" fmla="*/ 61852 h 227766"/>
                <a:gd name="connsiteX154" fmla="*/ 80968 w 327509"/>
                <a:gd name="connsiteY154" fmla="*/ 61852 h 227766"/>
                <a:gd name="connsiteX155" fmla="*/ 93342 w 327509"/>
                <a:gd name="connsiteY155" fmla="*/ 59949 h 227766"/>
                <a:gd name="connsiteX156" fmla="*/ 94294 w 327509"/>
                <a:gd name="connsiteY156" fmla="*/ 58997 h 227766"/>
                <a:gd name="connsiteX157" fmla="*/ 105717 w 327509"/>
                <a:gd name="connsiteY157" fmla="*/ 58997 h 227766"/>
                <a:gd name="connsiteX158" fmla="*/ 104765 w 327509"/>
                <a:gd name="connsiteY158" fmla="*/ 57094 h 227766"/>
                <a:gd name="connsiteX159" fmla="*/ 107621 w 327509"/>
                <a:gd name="connsiteY159" fmla="*/ 57094 h 227766"/>
                <a:gd name="connsiteX160" fmla="*/ 111429 w 327509"/>
                <a:gd name="connsiteY160" fmla="*/ 60900 h 227766"/>
                <a:gd name="connsiteX161" fmla="*/ 116188 w 327509"/>
                <a:gd name="connsiteY161" fmla="*/ 60900 h 227766"/>
                <a:gd name="connsiteX162" fmla="*/ 119044 w 327509"/>
                <a:gd name="connsiteY162" fmla="*/ 58997 h 227766"/>
                <a:gd name="connsiteX163" fmla="*/ 123803 w 327509"/>
                <a:gd name="connsiteY163" fmla="*/ 58997 h 227766"/>
                <a:gd name="connsiteX164" fmla="*/ 123803 w 327509"/>
                <a:gd name="connsiteY164" fmla="*/ 60900 h 227766"/>
                <a:gd name="connsiteX165" fmla="*/ 131418 w 327509"/>
                <a:gd name="connsiteY165" fmla="*/ 60900 h 227766"/>
                <a:gd name="connsiteX166" fmla="*/ 138082 w 327509"/>
                <a:gd name="connsiteY166" fmla="*/ 58046 h 227766"/>
                <a:gd name="connsiteX167" fmla="*/ 139034 w 327509"/>
                <a:gd name="connsiteY167" fmla="*/ 58997 h 22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27509" h="227766">
                  <a:moveTo>
                    <a:pt x="139034" y="58997"/>
                  </a:moveTo>
                  <a:lnTo>
                    <a:pt x="141889" y="58997"/>
                  </a:lnTo>
                  <a:cubicBezTo>
                    <a:pt x="133322" y="60900"/>
                    <a:pt x="124755" y="60900"/>
                    <a:pt x="116188" y="61852"/>
                  </a:cubicBezTo>
                  <a:cubicBezTo>
                    <a:pt x="135226" y="63755"/>
                    <a:pt x="158072" y="63755"/>
                    <a:pt x="170446" y="51385"/>
                  </a:cubicBezTo>
                  <a:cubicBezTo>
                    <a:pt x="173302" y="56143"/>
                    <a:pt x="191388" y="55191"/>
                    <a:pt x="191388" y="54239"/>
                  </a:cubicBezTo>
                  <a:cubicBezTo>
                    <a:pt x="195196" y="52336"/>
                    <a:pt x="199003" y="51385"/>
                    <a:pt x="201859" y="50433"/>
                  </a:cubicBezTo>
                  <a:cubicBezTo>
                    <a:pt x="199003" y="51385"/>
                    <a:pt x="197100" y="52336"/>
                    <a:pt x="194244" y="53288"/>
                  </a:cubicBezTo>
                  <a:cubicBezTo>
                    <a:pt x="197100" y="52336"/>
                    <a:pt x="199003" y="51385"/>
                    <a:pt x="201859" y="50433"/>
                  </a:cubicBezTo>
                  <a:cubicBezTo>
                    <a:pt x="204715" y="49482"/>
                    <a:pt x="207570" y="48530"/>
                    <a:pt x="210426" y="47578"/>
                  </a:cubicBezTo>
                  <a:cubicBezTo>
                    <a:pt x="213282" y="46627"/>
                    <a:pt x="217089" y="45675"/>
                    <a:pt x="218041" y="45675"/>
                  </a:cubicBezTo>
                  <a:cubicBezTo>
                    <a:pt x="219945" y="44724"/>
                    <a:pt x="222801" y="44724"/>
                    <a:pt x="224705" y="43772"/>
                  </a:cubicBezTo>
                  <a:cubicBezTo>
                    <a:pt x="228512" y="42821"/>
                    <a:pt x="231368" y="43772"/>
                    <a:pt x="231368" y="44724"/>
                  </a:cubicBezTo>
                  <a:lnTo>
                    <a:pt x="231368" y="44724"/>
                  </a:lnTo>
                  <a:cubicBezTo>
                    <a:pt x="231368" y="44724"/>
                    <a:pt x="232320" y="44724"/>
                    <a:pt x="230416" y="45675"/>
                  </a:cubicBezTo>
                  <a:cubicBezTo>
                    <a:pt x="228512" y="46627"/>
                    <a:pt x="227560" y="47578"/>
                    <a:pt x="225657" y="48530"/>
                  </a:cubicBezTo>
                  <a:cubicBezTo>
                    <a:pt x="222801" y="50433"/>
                    <a:pt x="220897" y="51385"/>
                    <a:pt x="219945" y="51385"/>
                  </a:cubicBezTo>
                  <a:lnTo>
                    <a:pt x="218993" y="51385"/>
                  </a:lnTo>
                  <a:cubicBezTo>
                    <a:pt x="219945" y="51385"/>
                    <a:pt x="219945" y="51385"/>
                    <a:pt x="219945" y="51385"/>
                  </a:cubicBezTo>
                  <a:cubicBezTo>
                    <a:pt x="220897" y="51385"/>
                    <a:pt x="220897" y="52336"/>
                    <a:pt x="220897" y="53288"/>
                  </a:cubicBezTo>
                  <a:lnTo>
                    <a:pt x="220897" y="53288"/>
                  </a:lnTo>
                  <a:lnTo>
                    <a:pt x="219945" y="54239"/>
                  </a:lnTo>
                  <a:lnTo>
                    <a:pt x="218041" y="56143"/>
                  </a:lnTo>
                  <a:cubicBezTo>
                    <a:pt x="216138" y="58046"/>
                    <a:pt x="215186" y="58997"/>
                    <a:pt x="213282" y="60900"/>
                  </a:cubicBezTo>
                  <a:cubicBezTo>
                    <a:pt x="215186" y="60900"/>
                    <a:pt x="215186" y="60900"/>
                    <a:pt x="218993" y="59949"/>
                  </a:cubicBezTo>
                  <a:lnTo>
                    <a:pt x="215186" y="61852"/>
                  </a:lnTo>
                  <a:cubicBezTo>
                    <a:pt x="213282" y="65658"/>
                    <a:pt x="206619" y="71368"/>
                    <a:pt x="203763" y="75174"/>
                  </a:cubicBezTo>
                  <a:cubicBezTo>
                    <a:pt x="203763" y="74222"/>
                    <a:pt x="200907" y="76126"/>
                    <a:pt x="199003" y="77077"/>
                  </a:cubicBezTo>
                  <a:lnTo>
                    <a:pt x="199955" y="77077"/>
                  </a:lnTo>
                  <a:cubicBezTo>
                    <a:pt x="191388" y="83738"/>
                    <a:pt x="181869" y="92302"/>
                    <a:pt x="174254" y="98011"/>
                  </a:cubicBezTo>
                  <a:cubicBezTo>
                    <a:pt x="173302" y="98963"/>
                    <a:pt x="172350" y="98963"/>
                    <a:pt x="171398" y="98963"/>
                  </a:cubicBezTo>
                  <a:lnTo>
                    <a:pt x="164735" y="105624"/>
                  </a:lnTo>
                  <a:cubicBezTo>
                    <a:pt x="164735" y="103721"/>
                    <a:pt x="158072" y="109430"/>
                    <a:pt x="160927" y="105624"/>
                  </a:cubicBezTo>
                  <a:cubicBezTo>
                    <a:pt x="156168" y="111334"/>
                    <a:pt x="150456" y="115140"/>
                    <a:pt x="146649" y="120849"/>
                  </a:cubicBezTo>
                  <a:cubicBezTo>
                    <a:pt x="127611" y="136074"/>
                    <a:pt x="108573" y="153203"/>
                    <a:pt x="91439" y="170331"/>
                  </a:cubicBezTo>
                  <a:lnTo>
                    <a:pt x="92391" y="170331"/>
                  </a:lnTo>
                  <a:cubicBezTo>
                    <a:pt x="86679" y="176992"/>
                    <a:pt x="81920" y="183653"/>
                    <a:pt x="73353" y="189362"/>
                  </a:cubicBezTo>
                  <a:cubicBezTo>
                    <a:pt x="68593" y="196023"/>
                    <a:pt x="60978" y="203636"/>
                    <a:pt x="60978" y="207442"/>
                  </a:cubicBezTo>
                  <a:cubicBezTo>
                    <a:pt x="54315" y="213151"/>
                    <a:pt x="52411" y="216958"/>
                    <a:pt x="46699" y="222667"/>
                  </a:cubicBezTo>
                  <a:cubicBezTo>
                    <a:pt x="49555" y="222667"/>
                    <a:pt x="41940" y="229328"/>
                    <a:pt x="45747" y="227425"/>
                  </a:cubicBezTo>
                  <a:cubicBezTo>
                    <a:pt x="51459" y="225522"/>
                    <a:pt x="50507" y="223619"/>
                    <a:pt x="55266" y="221715"/>
                  </a:cubicBezTo>
                  <a:lnTo>
                    <a:pt x="55266" y="221715"/>
                  </a:lnTo>
                  <a:cubicBezTo>
                    <a:pt x="74304" y="209345"/>
                    <a:pt x="92391" y="196023"/>
                    <a:pt x="110477" y="182701"/>
                  </a:cubicBezTo>
                  <a:cubicBezTo>
                    <a:pt x="121899" y="172234"/>
                    <a:pt x="135226" y="162718"/>
                    <a:pt x="146649" y="152251"/>
                  </a:cubicBezTo>
                  <a:cubicBezTo>
                    <a:pt x="159024" y="140832"/>
                    <a:pt x="173302" y="128462"/>
                    <a:pt x="183773" y="118946"/>
                  </a:cubicBezTo>
                  <a:cubicBezTo>
                    <a:pt x="186629" y="116091"/>
                    <a:pt x="188532" y="116091"/>
                    <a:pt x="191388" y="114188"/>
                  </a:cubicBezTo>
                  <a:cubicBezTo>
                    <a:pt x="200907" y="105624"/>
                    <a:pt x="215186" y="95157"/>
                    <a:pt x="226608" y="84690"/>
                  </a:cubicBezTo>
                  <a:cubicBezTo>
                    <a:pt x="226608" y="84690"/>
                    <a:pt x="226608" y="84690"/>
                    <a:pt x="225657" y="84690"/>
                  </a:cubicBezTo>
                  <a:cubicBezTo>
                    <a:pt x="228512" y="81835"/>
                    <a:pt x="231368" y="79932"/>
                    <a:pt x="234224" y="78029"/>
                  </a:cubicBezTo>
                  <a:lnTo>
                    <a:pt x="238983" y="75174"/>
                  </a:lnTo>
                  <a:lnTo>
                    <a:pt x="240887" y="73271"/>
                  </a:lnTo>
                  <a:cubicBezTo>
                    <a:pt x="241839" y="72319"/>
                    <a:pt x="243743" y="71368"/>
                    <a:pt x="244695" y="70416"/>
                  </a:cubicBezTo>
                  <a:cubicBezTo>
                    <a:pt x="244695" y="70416"/>
                    <a:pt x="245646" y="68513"/>
                    <a:pt x="246598" y="68513"/>
                  </a:cubicBezTo>
                  <a:cubicBezTo>
                    <a:pt x="248502" y="68513"/>
                    <a:pt x="262781" y="55191"/>
                    <a:pt x="275155" y="43772"/>
                  </a:cubicBezTo>
                  <a:cubicBezTo>
                    <a:pt x="287530" y="32353"/>
                    <a:pt x="297049" y="22838"/>
                    <a:pt x="300857" y="20934"/>
                  </a:cubicBezTo>
                  <a:lnTo>
                    <a:pt x="302760" y="19031"/>
                  </a:lnTo>
                  <a:cubicBezTo>
                    <a:pt x="308472" y="15225"/>
                    <a:pt x="314183" y="10467"/>
                    <a:pt x="320847" y="5709"/>
                  </a:cubicBezTo>
                  <a:lnTo>
                    <a:pt x="325606" y="1903"/>
                  </a:lnTo>
                  <a:lnTo>
                    <a:pt x="326558" y="951"/>
                  </a:lnTo>
                  <a:lnTo>
                    <a:pt x="327510" y="0"/>
                  </a:lnTo>
                  <a:lnTo>
                    <a:pt x="325606" y="0"/>
                  </a:lnTo>
                  <a:cubicBezTo>
                    <a:pt x="323702" y="0"/>
                    <a:pt x="320847" y="0"/>
                    <a:pt x="318943" y="0"/>
                  </a:cubicBezTo>
                  <a:cubicBezTo>
                    <a:pt x="309424" y="951"/>
                    <a:pt x="298001" y="1903"/>
                    <a:pt x="285626" y="3806"/>
                  </a:cubicBezTo>
                  <a:cubicBezTo>
                    <a:pt x="278963" y="5709"/>
                    <a:pt x="271348" y="7612"/>
                    <a:pt x="265636" y="10467"/>
                  </a:cubicBezTo>
                  <a:cubicBezTo>
                    <a:pt x="262781" y="10467"/>
                    <a:pt x="259925" y="12370"/>
                    <a:pt x="255165" y="13322"/>
                  </a:cubicBezTo>
                  <a:cubicBezTo>
                    <a:pt x="251358" y="11419"/>
                    <a:pt x="246598" y="12370"/>
                    <a:pt x="244695" y="12370"/>
                  </a:cubicBezTo>
                  <a:cubicBezTo>
                    <a:pt x="241839" y="13322"/>
                    <a:pt x="240887" y="14274"/>
                    <a:pt x="243743" y="14274"/>
                  </a:cubicBezTo>
                  <a:cubicBezTo>
                    <a:pt x="233272" y="17128"/>
                    <a:pt x="224705" y="18080"/>
                    <a:pt x="216138" y="19983"/>
                  </a:cubicBezTo>
                  <a:lnTo>
                    <a:pt x="213282" y="20934"/>
                  </a:lnTo>
                  <a:lnTo>
                    <a:pt x="211378" y="21886"/>
                  </a:lnTo>
                  <a:cubicBezTo>
                    <a:pt x="210426" y="21886"/>
                    <a:pt x="208522" y="22838"/>
                    <a:pt x="207570" y="22838"/>
                  </a:cubicBezTo>
                  <a:cubicBezTo>
                    <a:pt x="205667" y="23789"/>
                    <a:pt x="203763" y="22838"/>
                    <a:pt x="202811" y="22838"/>
                  </a:cubicBezTo>
                  <a:cubicBezTo>
                    <a:pt x="197100" y="24741"/>
                    <a:pt x="199003" y="22838"/>
                    <a:pt x="192340" y="23789"/>
                  </a:cubicBezTo>
                  <a:cubicBezTo>
                    <a:pt x="190436" y="22838"/>
                    <a:pt x="178062" y="28547"/>
                    <a:pt x="176158" y="28547"/>
                  </a:cubicBezTo>
                  <a:lnTo>
                    <a:pt x="177110" y="28547"/>
                  </a:lnTo>
                  <a:cubicBezTo>
                    <a:pt x="170446" y="29499"/>
                    <a:pt x="165687" y="27595"/>
                    <a:pt x="159024" y="28547"/>
                  </a:cubicBezTo>
                  <a:cubicBezTo>
                    <a:pt x="139986" y="30450"/>
                    <a:pt x="119996" y="35208"/>
                    <a:pt x="102861" y="37111"/>
                  </a:cubicBezTo>
                  <a:cubicBezTo>
                    <a:pt x="102861" y="39014"/>
                    <a:pt x="106669" y="36160"/>
                    <a:pt x="106669" y="38063"/>
                  </a:cubicBezTo>
                  <a:cubicBezTo>
                    <a:pt x="96198" y="39014"/>
                    <a:pt x="85727" y="39014"/>
                    <a:pt x="76208" y="39966"/>
                  </a:cubicBezTo>
                  <a:cubicBezTo>
                    <a:pt x="74304" y="39966"/>
                    <a:pt x="72401" y="39014"/>
                    <a:pt x="71449" y="39014"/>
                  </a:cubicBezTo>
                  <a:cubicBezTo>
                    <a:pt x="68593" y="39014"/>
                    <a:pt x="69545" y="39966"/>
                    <a:pt x="67641" y="39966"/>
                  </a:cubicBezTo>
                  <a:lnTo>
                    <a:pt x="66689" y="39014"/>
                  </a:lnTo>
                  <a:cubicBezTo>
                    <a:pt x="62882" y="40917"/>
                    <a:pt x="60978" y="38063"/>
                    <a:pt x="58122" y="39014"/>
                  </a:cubicBezTo>
                  <a:cubicBezTo>
                    <a:pt x="58122" y="39966"/>
                    <a:pt x="57170" y="39966"/>
                    <a:pt x="55266" y="39966"/>
                  </a:cubicBezTo>
                  <a:cubicBezTo>
                    <a:pt x="55266" y="39014"/>
                    <a:pt x="51459" y="40917"/>
                    <a:pt x="51459" y="39014"/>
                  </a:cubicBezTo>
                  <a:lnTo>
                    <a:pt x="51459" y="39014"/>
                  </a:lnTo>
                  <a:cubicBezTo>
                    <a:pt x="50507" y="39014"/>
                    <a:pt x="50507" y="39014"/>
                    <a:pt x="49555" y="39014"/>
                  </a:cubicBezTo>
                  <a:cubicBezTo>
                    <a:pt x="48603" y="39966"/>
                    <a:pt x="36228" y="44724"/>
                    <a:pt x="35277" y="45675"/>
                  </a:cubicBezTo>
                  <a:lnTo>
                    <a:pt x="34325" y="45675"/>
                  </a:lnTo>
                  <a:cubicBezTo>
                    <a:pt x="32421" y="45675"/>
                    <a:pt x="31469" y="46627"/>
                    <a:pt x="32421" y="47578"/>
                  </a:cubicBezTo>
                  <a:lnTo>
                    <a:pt x="30517" y="47578"/>
                  </a:lnTo>
                  <a:lnTo>
                    <a:pt x="30517" y="47578"/>
                  </a:lnTo>
                  <a:lnTo>
                    <a:pt x="28613" y="47578"/>
                  </a:lnTo>
                  <a:cubicBezTo>
                    <a:pt x="28613" y="47578"/>
                    <a:pt x="27661" y="46627"/>
                    <a:pt x="28613" y="46627"/>
                  </a:cubicBezTo>
                  <a:cubicBezTo>
                    <a:pt x="27661" y="47578"/>
                    <a:pt x="25758" y="47578"/>
                    <a:pt x="24806" y="47578"/>
                  </a:cubicBezTo>
                  <a:cubicBezTo>
                    <a:pt x="28613" y="48530"/>
                    <a:pt x="33373" y="48530"/>
                    <a:pt x="37180" y="49482"/>
                  </a:cubicBezTo>
                  <a:cubicBezTo>
                    <a:pt x="35277" y="50433"/>
                    <a:pt x="32421" y="49482"/>
                    <a:pt x="31469" y="50433"/>
                  </a:cubicBezTo>
                  <a:cubicBezTo>
                    <a:pt x="29565" y="49482"/>
                    <a:pt x="24806" y="49482"/>
                    <a:pt x="21950" y="49482"/>
                  </a:cubicBezTo>
                  <a:cubicBezTo>
                    <a:pt x="20998" y="49482"/>
                    <a:pt x="20998" y="51385"/>
                    <a:pt x="19094" y="50433"/>
                  </a:cubicBezTo>
                  <a:cubicBezTo>
                    <a:pt x="18142" y="49482"/>
                    <a:pt x="17191" y="50433"/>
                    <a:pt x="16239" y="50433"/>
                  </a:cubicBezTo>
                  <a:cubicBezTo>
                    <a:pt x="18142" y="49482"/>
                    <a:pt x="19094" y="49482"/>
                    <a:pt x="20998" y="49482"/>
                  </a:cubicBezTo>
                  <a:cubicBezTo>
                    <a:pt x="20998" y="48530"/>
                    <a:pt x="17191" y="48530"/>
                    <a:pt x="16239" y="48530"/>
                  </a:cubicBezTo>
                  <a:cubicBezTo>
                    <a:pt x="15287" y="48530"/>
                    <a:pt x="12431" y="48530"/>
                    <a:pt x="10527" y="49482"/>
                  </a:cubicBezTo>
                  <a:cubicBezTo>
                    <a:pt x="11479" y="48530"/>
                    <a:pt x="8623" y="48530"/>
                    <a:pt x="7672" y="48530"/>
                  </a:cubicBezTo>
                  <a:cubicBezTo>
                    <a:pt x="6720" y="48530"/>
                    <a:pt x="5768" y="49482"/>
                    <a:pt x="5768" y="49482"/>
                  </a:cubicBezTo>
                  <a:cubicBezTo>
                    <a:pt x="5768" y="50433"/>
                    <a:pt x="10527" y="49482"/>
                    <a:pt x="9575" y="51385"/>
                  </a:cubicBezTo>
                  <a:cubicBezTo>
                    <a:pt x="8623" y="50433"/>
                    <a:pt x="6720" y="51385"/>
                    <a:pt x="4816" y="51385"/>
                  </a:cubicBezTo>
                  <a:cubicBezTo>
                    <a:pt x="4816" y="52336"/>
                    <a:pt x="5768" y="52336"/>
                    <a:pt x="4816" y="52336"/>
                  </a:cubicBezTo>
                  <a:cubicBezTo>
                    <a:pt x="2912" y="52336"/>
                    <a:pt x="1960" y="53288"/>
                    <a:pt x="1008" y="52336"/>
                  </a:cubicBezTo>
                  <a:lnTo>
                    <a:pt x="1960" y="52336"/>
                  </a:lnTo>
                  <a:cubicBezTo>
                    <a:pt x="56" y="52336"/>
                    <a:pt x="12431" y="46627"/>
                    <a:pt x="9575" y="47578"/>
                  </a:cubicBezTo>
                  <a:cubicBezTo>
                    <a:pt x="10527" y="48530"/>
                    <a:pt x="-896" y="53288"/>
                    <a:pt x="56" y="52336"/>
                  </a:cubicBezTo>
                  <a:cubicBezTo>
                    <a:pt x="1008" y="52336"/>
                    <a:pt x="-896" y="53288"/>
                    <a:pt x="1008" y="54239"/>
                  </a:cubicBezTo>
                  <a:lnTo>
                    <a:pt x="1960" y="53288"/>
                  </a:lnTo>
                  <a:cubicBezTo>
                    <a:pt x="3864" y="53288"/>
                    <a:pt x="4816" y="54239"/>
                    <a:pt x="3864" y="55191"/>
                  </a:cubicBezTo>
                  <a:cubicBezTo>
                    <a:pt x="1008" y="55191"/>
                    <a:pt x="11479" y="49482"/>
                    <a:pt x="9575" y="50433"/>
                  </a:cubicBezTo>
                  <a:lnTo>
                    <a:pt x="10527" y="50433"/>
                  </a:lnTo>
                  <a:cubicBezTo>
                    <a:pt x="9575" y="51385"/>
                    <a:pt x="6720" y="51385"/>
                    <a:pt x="5768" y="51385"/>
                  </a:cubicBezTo>
                  <a:cubicBezTo>
                    <a:pt x="5768" y="52336"/>
                    <a:pt x="4816" y="52336"/>
                    <a:pt x="2912" y="53288"/>
                  </a:cubicBezTo>
                  <a:lnTo>
                    <a:pt x="2912" y="53288"/>
                  </a:lnTo>
                  <a:cubicBezTo>
                    <a:pt x="1960" y="53288"/>
                    <a:pt x="56" y="53288"/>
                    <a:pt x="1008" y="54239"/>
                  </a:cubicBezTo>
                  <a:cubicBezTo>
                    <a:pt x="7672" y="53288"/>
                    <a:pt x="-2799" y="61852"/>
                    <a:pt x="3864" y="61852"/>
                  </a:cubicBezTo>
                  <a:cubicBezTo>
                    <a:pt x="1008" y="60900"/>
                    <a:pt x="4816" y="59949"/>
                    <a:pt x="7672" y="59949"/>
                  </a:cubicBezTo>
                  <a:cubicBezTo>
                    <a:pt x="7672" y="60900"/>
                    <a:pt x="9575" y="60900"/>
                    <a:pt x="11479" y="61852"/>
                  </a:cubicBezTo>
                  <a:cubicBezTo>
                    <a:pt x="13383" y="61852"/>
                    <a:pt x="12431" y="60900"/>
                    <a:pt x="12431" y="60900"/>
                  </a:cubicBezTo>
                  <a:cubicBezTo>
                    <a:pt x="13383" y="60900"/>
                    <a:pt x="15287" y="60900"/>
                    <a:pt x="15287" y="61852"/>
                  </a:cubicBezTo>
                  <a:cubicBezTo>
                    <a:pt x="16239" y="60900"/>
                    <a:pt x="17191" y="61852"/>
                    <a:pt x="19094" y="61852"/>
                  </a:cubicBezTo>
                  <a:cubicBezTo>
                    <a:pt x="20998" y="60900"/>
                    <a:pt x="19094" y="61852"/>
                    <a:pt x="20046" y="60900"/>
                  </a:cubicBezTo>
                  <a:cubicBezTo>
                    <a:pt x="21950" y="60900"/>
                    <a:pt x="25758" y="60900"/>
                    <a:pt x="27661" y="60900"/>
                  </a:cubicBezTo>
                  <a:cubicBezTo>
                    <a:pt x="28613" y="61852"/>
                    <a:pt x="30517" y="62803"/>
                    <a:pt x="29565" y="63755"/>
                  </a:cubicBezTo>
                  <a:cubicBezTo>
                    <a:pt x="25758" y="63755"/>
                    <a:pt x="30517" y="61852"/>
                    <a:pt x="26709" y="61852"/>
                  </a:cubicBezTo>
                  <a:cubicBezTo>
                    <a:pt x="28613" y="63755"/>
                    <a:pt x="23854" y="62803"/>
                    <a:pt x="22902" y="63755"/>
                  </a:cubicBezTo>
                  <a:cubicBezTo>
                    <a:pt x="23854" y="64707"/>
                    <a:pt x="26709" y="63755"/>
                    <a:pt x="28613" y="63755"/>
                  </a:cubicBezTo>
                  <a:lnTo>
                    <a:pt x="28613" y="63755"/>
                  </a:lnTo>
                  <a:cubicBezTo>
                    <a:pt x="30517" y="63755"/>
                    <a:pt x="33373" y="62803"/>
                    <a:pt x="35277" y="63755"/>
                  </a:cubicBezTo>
                  <a:cubicBezTo>
                    <a:pt x="35277" y="64707"/>
                    <a:pt x="36228" y="64707"/>
                    <a:pt x="34325" y="64707"/>
                  </a:cubicBezTo>
                  <a:lnTo>
                    <a:pt x="37180" y="64707"/>
                  </a:lnTo>
                  <a:cubicBezTo>
                    <a:pt x="37180" y="64707"/>
                    <a:pt x="38132" y="64707"/>
                    <a:pt x="37180" y="63755"/>
                  </a:cubicBezTo>
                  <a:cubicBezTo>
                    <a:pt x="38132" y="62803"/>
                    <a:pt x="39084" y="63755"/>
                    <a:pt x="40036" y="63755"/>
                  </a:cubicBezTo>
                  <a:cubicBezTo>
                    <a:pt x="40036" y="64707"/>
                    <a:pt x="52411" y="58997"/>
                    <a:pt x="52411" y="59949"/>
                  </a:cubicBezTo>
                  <a:cubicBezTo>
                    <a:pt x="54315" y="59949"/>
                    <a:pt x="54315" y="60900"/>
                    <a:pt x="56218" y="59949"/>
                  </a:cubicBezTo>
                  <a:cubicBezTo>
                    <a:pt x="56218" y="58997"/>
                    <a:pt x="40036" y="63755"/>
                    <a:pt x="42892" y="63755"/>
                  </a:cubicBezTo>
                  <a:cubicBezTo>
                    <a:pt x="44796" y="64707"/>
                    <a:pt x="61930" y="58046"/>
                    <a:pt x="62882" y="58997"/>
                  </a:cubicBezTo>
                  <a:cubicBezTo>
                    <a:pt x="63834" y="58997"/>
                    <a:pt x="65737" y="58046"/>
                    <a:pt x="64785" y="58046"/>
                  </a:cubicBezTo>
                  <a:cubicBezTo>
                    <a:pt x="66689" y="58046"/>
                    <a:pt x="64785" y="58997"/>
                    <a:pt x="65737" y="59949"/>
                  </a:cubicBezTo>
                  <a:lnTo>
                    <a:pt x="65737" y="59949"/>
                  </a:lnTo>
                  <a:lnTo>
                    <a:pt x="67641" y="60900"/>
                  </a:lnTo>
                  <a:cubicBezTo>
                    <a:pt x="70497" y="58997"/>
                    <a:pt x="76208" y="59949"/>
                    <a:pt x="79064" y="58046"/>
                  </a:cubicBezTo>
                  <a:cubicBezTo>
                    <a:pt x="78112" y="58997"/>
                    <a:pt x="77160" y="59949"/>
                    <a:pt x="75256" y="60900"/>
                  </a:cubicBezTo>
                  <a:lnTo>
                    <a:pt x="75256" y="60900"/>
                  </a:lnTo>
                  <a:lnTo>
                    <a:pt x="73353" y="61852"/>
                  </a:lnTo>
                  <a:cubicBezTo>
                    <a:pt x="75256" y="61852"/>
                    <a:pt x="77160" y="61852"/>
                    <a:pt x="79064" y="60900"/>
                  </a:cubicBezTo>
                  <a:lnTo>
                    <a:pt x="80016" y="60900"/>
                  </a:lnTo>
                  <a:lnTo>
                    <a:pt x="80016" y="60900"/>
                  </a:lnTo>
                  <a:cubicBezTo>
                    <a:pt x="80968" y="60900"/>
                    <a:pt x="80968" y="60900"/>
                    <a:pt x="80968" y="61852"/>
                  </a:cubicBezTo>
                  <a:lnTo>
                    <a:pt x="80968" y="61852"/>
                  </a:lnTo>
                  <a:cubicBezTo>
                    <a:pt x="82872" y="63755"/>
                    <a:pt x="89535" y="58997"/>
                    <a:pt x="93342" y="59949"/>
                  </a:cubicBezTo>
                  <a:cubicBezTo>
                    <a:pt x="94294" y="59949"/>
                    <a:pt x="93342" y="59949"/>
                    <a:pt x="94294" y="58997"/>
                  </a:cubicBezTo>
                  <a:cubicBezTo>
                    <a:pt x="98102" y="58997"/>
                    <a:pt x="100958" y="58997"/>
                    <a:pt x="105717" y="58997"/>
                  </a:cubicBezTo>
                  <a:cubicBezTo>
                    <a:pt x="106669" y="58046"/>
                    <a:pt x="106669" y="58046"/>
                    <a:pt x="104765" y="57094"/>
                  </a:cubicBezTo>
                  <a:lnTo>
                    <a:pt x="107621" y="57094"/>
                  </a:lnTo>
                  <a:cubicBezTo>
                    <a:pt x="104765" y="59949"/>
                    <a:pt x="113332" y="58046"/>
                    <a:pt x="111429" y="60900"/>
                  </a:cubicBezTo>
                  <a:cubicBezTo>
                    <a:pt x="112380" y="60900"/>
                    <a:pt x="114284" y="60900"/>
                    <a:pt x="116188" y="60900"/>
                  </a:cubicBezTo>
                  <a:cubicBezTo>
                    <a:pt x="116188" y="59949"/>
                    <a:pt x="116188" y="58997"/>
                    <a:pt x="119044" y="58997"/>
                  </a:cubicBezTo>
                  <a:cubicBezTo>
                    <a:pt x="121899" y="58997"/>
                    <a:pt x="121899" y="58997"/>
                    <a:pt x="123803" y="58997"/>
                  </a:cubicBezTo>
                  <a:cubicBezTo>
                    <a:pt x="124755" y="59949"/>
                    <a:pt x="123803" y="59949"/>
                    <a:pt x="123803" y="60900"/>
                  </a:cubicBezTo>
                  <a:cubicBezTo>
                    <a:pt x="127611" y="58997"/>
                    <a:pt x="127611" y="61852"/>
                    <a:pt x="131418" y="60900"/>
                  </a:cubicBezTo>
                  <a:cubicBezTo>
                    <a:pt x="133322" y="59949"/>
                    <a:pt x="138082" y="59949"/>
                    <a:pt x="138082" y="58046"/>
                  </a:cubicBezTo>
                  <a:cubicBezTo>
                    <a:pt x="139034" y="57094"/>
                    <a:pt x="139034" y="58046"/>
                    <a:pt x="139034" y="58997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111196300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udendørs, bænk, sidder&#10;&#10;Automatisk genereret beskrivelse">
            <a:extLst>
              <a:ext uri="{FF2B5EF4-FFF2-40B4-BE49-F238E27FC236}">
                <a16:creationId xmlns:a16="http://schemas.microsoft.com/office/drawing/2014/main" id="{731A862E-C8E1-AF42-92F3-C4898253E1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54752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indendørs, person, barn, sidder&#10;&#10;Automatisk genereret beskrivelse">
            <a:extLst>
              <a:ext uri="{FF2B5EF4-FFF2-40B4-BE49-F238E27FC236}">
                <a16:creationId xmlns:a16="http://schemas.microsoft.com/office/drawing/2014/main" id="{7FC025C4-3C51-2A45-9719-DDD2CC92AC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2FB2E0C-BE4C-8B44-9153-E69F14E128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D64F0D3D-51BD-EB4A-AF54-E0CD9509F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7472068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araply, person, tilbehør, opbevarer&#10;&#10;Automatisk genereret beskrivelse">
            <a:extLst>
              <a:ext uri="{FF2B5EF4-FFF2-40B4-BE49-F238E27FC236}">
                <a16:creationId xmlns:a16="http://schemas.microsoft.com/office/drawing/2014/main" id="{D11B5318-5D51-FF46-AFA4-AA3E8E7B22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D436AAE-0CC0-2842-B97D-F213D08176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C518AE99-3537-9048-8647-3EEBD7036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51738723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græs, felt, får&#10;&#10;Automatisk genereret beskrivelse">
            <a:extLst>
              <a:ext uri="{FF2B5EF4-FFF2-40B4-BE49-F238E27FC236}">
                <a16:creationId xmlns:a16="http://schemas.microsoft.com/office/drawing/2014/main" id="{28037FDD-8966-5E47-91C2-1782A94194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CC8B7C6-4DC1-5C4E-B62C-454EEB2BB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8D615CE-0B75-DA4C-B19A-F75CC578C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04956915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udendørs, græs, bjerg, mad&#10;&#10;Automatisk genereret beskrivelse">
            <a:extLst>
              <a:ext uri="{FF2B5EF4-FFF2-40B4-BE49-F238E27FC236}">
                <a16:creationId xmlns:a16="http://schemas.microsoft.com/office/drawing/2014/main" id="{0EA045AA-3339-604F-8EB8-940992657D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E53EFFB-2725-DF45-91C3-4FEDAFF8E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071EF88-57BE-7A41-922C-F13269FBA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0915623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bygning, hegn, by&#10;&#10;Automatisk genereret beskrivelse">
            <a:extLst>
              <a:ext uri="{FF2B5EF4-FFF2-40B4-BE49-F238E27FC236}">
                <a16:creationId xmlns:a16="http://schemas.microsoft.com/office/drawing/2014/main" id="{9605DD56-4AD4-7B47-96A1-120C1DF65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BE94C62-970B-4746-BEEC-26579458ED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7D4BF381-4455-B540-8DC5-812DBB345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17853692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erson, udendørs, bygning, forbereder&#10;&#10;Automatisk genereret beskrivelse">
            <a:extLst>
              <a:ext uri="{FF2B5EF4-FFF2-40B4-BE49-F238E27FC236}">
                <a16:creationId xmlns:a16="http://schemas.microsoft.com/office/drawing/2014/main" id="{40209235-55F1-C34E-9B18-45E743DAE7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0" y="0"/>
            <a:ext cx="121952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0AD2C0-AC1A-A542-B630-A0A9A232B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D545335C-C562-DA4D-AC43-5CCF4BE5D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65874085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indendørs, opbevarer, afspiller&#10;&#10;Automatisk genereret beskrivelse">
            <a:extLst>
              <a:ext uri="{FF2B5EF4-FFF2-40B4-BE49-F238E27FC236}">
                <a16:creationId xmlns:a16="http://schemas.microsoft.com/office/drawing/2014/main" id="{86A135C5-411F-3647-B5F8-69AF5E9E1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0" y="0"/>
            <a:ext cx="121952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07065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6) Indhold - To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2357608" y="173672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2357608" y="458975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2357608" y="499380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594392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594392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94392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24885752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3" name="Picture 3" descr="D:\Opgaver\EDC Marts 2020\Powerpointskabelon\billeder\ppt_billede_det_handler_om_at_gøre_sig_umage_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7756871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 descr="D:\Opgaver\EDC Marts 2020\Powerpointskabelon\billeder\ppt_billede_drone_by_frederiksber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6184138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D:\Opgaver\EDC Marts 2020\Powerpointskabelon\billeder\ppt_billede_par_renover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1231824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 descr="D:\Opgaver\EDC Marts 2020\Powerpointskabelon\billeder\ppt_billede_par_ud_af_vindu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199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9127781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D:\Opgaver\EDC Marts 2020\Powerpointskabelon\billeder\ppt_billede_kvinde_i_lejlighe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4121930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D:\Opgaver\EDC Marts 2020\Powerpointskabelon\billeder\ppt_billede_familie_i_sommerhu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7978140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D:\Opgaver\EDC Marts 2020\Powerpointskabelon\billeder\ppt_billede_sommerhus_hoet_gra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1586863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D:\Opgaver\EDC Marts 2020\Powerpointskabelon\billeder\ppt_billede_kvinde_i_lejlighed_med_t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2637260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D:\Opgaver\EDC Marts 2020\Powerpointskabelon\billeder\ppt_billede_mand_ruller_taeppe_u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64563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3" name="Picture 3" descr="D:\Opgaver\EDC Marts 2020\Powerpointskabelon\billeder\ppt_billede_aeldre_par_mal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0913508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tags" Target="../tags/tag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oleObject" Target="../embeddings/oleObject1.bin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42.xml"/><Relationship Id="rId117" Type="http://schemas.openxmlformats.org/officeDocument/2006/relationships/theme" Target="../theme/theme2.xml"/><Relationship Id="rId21" Type="http://schemas.openxmlformats.org/officeDocument/2006/relationships/slideLayout" Target="../slideLayouts/slideLayout137.xml"/><Relationship Id="rId42" Type="http://schemas.openxmlformats.org/officeDocument/2006/relationships/slideLayout" Target="../slideLayouts/slideLayout158.xml"/><Relationship Id="rId47" Type="http://schemas.openxmlformats.org/officeDocument/2006/relationships/slideLayout" Target="../slideLayouts/slideLayout163.xml"/><Relationship Id="rId63" Type="http://schemas.openxmlformats.org/officeDocument/2006/relationships/slideLayout" Target="../slideLayouts/slideLayout179.xml"/><Relationship Id="rId68" Type="http://schemas.openxmlformats.org/officeDocument/2006/relationships/slideLayout" Target="../slideLayouts/slideLayout184.xml"/><Relationship Id="rId84" Type="http://schemas.openxmlformats.org/officeDocument/2006/relationships/slideLayout" Target="../slideLayouts/slideLayout200.xml"/><Relationship Id="rId89" Type="http://schemas.openxmlformats.org/officeDocument/2006/relationships/slideLayout" Target="../slideLayouts/slideLayout205.xml"/><Relationship Id="rId112" Type="http://schemas.openxmlformats.org/officeDocument/2006/relationships/slideLayout" Target="../slideLayouts/slideLayout228.xml"/><Relationship Id="rId16" Type="http://schemas.openxmlformats.org/officeDocument/2006/relationships/slideLayout" Target="../slideLayouts/slideLayout132.xml"/><Relationship Id="rId107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127.xml"/><Relationship Id="rId32" Type="http://schemas.openxmlformats.org/officeDocument/2006/relationships/slideLayout" Target="../slideLayouts/slideLayout148.xml"/><Relationship Id="rId37" Type="http://schemas.openxmlformats.org/officeDocument/2006/relationships/slideLayout" Target="../slideLayouts/slideLayout153.xml"/><Relationship Id="rId53" Type="http://schemas.openxmlformats.org/officeDocument/2006/relationships/slideLayout" Target="../slideLayouts/slideLayout169.xml"/><Relationship Id="rId58" Type="http://schemas.openxmlformats.org/officeDocument/2006/relationships/slideLayout" Target="../slideLayouts/slideLayout174.xml"/><Relationship Id="rId74" Type="http://schemas.openxmlformats.org/officeDocument/2006/relationships/slideLayout" Target="../slideLayouts/slideLayout190.xml"/><Relationship Id="rId79" Type="http://schemas.openxmlformats.org/officeDocument/2006/relationships/slideLayout" Target="../slideLayouts/slideLayout195.xml"/><Relationship Id="rId102" Type="http://schemas.openxmlformats.org/officeDocument/2006/relationships/slideLayout" Target="../slideLayouts/slideLayout218.xml"/><Relationship Id="rId5" Type="http://schemas.openxmlformats.org/officeDocument/2006/relationships/slideLayout" Target="../slideLayouts/slideLayout121.xml"/><Relationship Id="rId90" Type="http://schemas.openxmlformats.org/officeDocument/2006/relationships/slideLayout" Target="../slideLayouts/slideLayout206.xml"/><Relationship Id="rId95" Type="http://schemas.openxmlformats.org/officeDocument/2006/relationships/slideLayout" Target="../slideLayouts/slideLayout211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43" Type="http://schemas.openxmlformats.org/officeDocument/2006/relationships/slideLayout" Target="../slideLayouts/slideLayout159.xml"/><Relationship Id="rId48" Type="http://schemas.openxmlformats.org/officeDocument/2006/relationships/slideLayout" Target="../slideLayouts/slideLayout164.xml"/><Relationship Id="rId64" Type="http://schemas.openxmlformats.org/officeDocument/2006/relationships/slideLayout" Target="../slideLayouts/slideLayout180.xml"/><Relationship Id="rId69" Type="http://schemas.openxmlformats.org/officeDocument/2006/relationships/slideLayout" Target="../slideLayouts/slideLayout185.xml"/><Relationship Id="rId113" Type="http://schemas.openxmlformats.org/officeDocument/2006/relationships/slideLayout" Target="../slideLayouts/slideLayout229.xml"/><Relationship Id="rId118" Type="http://schemas.openxmlformats.org/officeDocument/2006/relationships/tags" Target="../tags/tag16.xml"/><Relationship Id="rId80" Type="http://schemas.openxmlformats.org/officeDocument/2006/relationships/slideLayout" Target="../slideLayouts/slideLayout196.xml"/><Relationship Id="rId85" Type="http://schemas.openxmlformats.org/officeDocument/2006/relationships/slideLayout" Target="../slideLayouts/slideLayout201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33" Type="http://schemas.openxmlformats.org/officeDocument/2006/relationships/slideLayout" Target="../slideLayouts/slideLayout149.xml"/><Relationship Id="rId38" Type="http://schemas.openxmlformats.org/officeDocument/2006/relationships/slideLayout" Target="../slideLayouts/slideLayout154.xml"/><Relationship Id="rId59" Type="http://schemas.openxmlformats.org/officeDocument/2006/relationships/slideLayout" Target="../slideLayouts/slideLayout175.xml"/><Relationship Id="rId103" Type="http://schemas.openxmlformats.org/officeDocument/2006/relationships/slideLayout" Target="../slideLayouts/slideLayout219.xml"/><Relationship Id="rId108" Type="http://schemas.openxmlformats.org/officeDocument/2006/relationships/slideLayout" Target="../slideLayouts/slideLayout224.xml"/><Relationship Id="rId54" Type="http://schemas.openxmlformats.org/officeDocument/2006/relationships/slideLayout" Target="../slideLayouts/slideLayout170.xml"/><Relationship Id="rId70" Type="http://schemas.openxmlformats.org/officeDocument/2006/relationships/slideLayout" Target="../slideLayouts/slideLayout186.xml"/><Relationship Id="rId75" Type="http://schemas.openxmlformats.org/officeDocument/2006/relationships/slideLayout" Target="../slideLayouts/slideLayout191.xml"/><Relationship Id="rId91" Type="http://schemas.openxmlformats.org/officeDocument/2006/relationships/slideLayout" Target="../slideLayouts/slideLayout207.xml"/><Relationship Id="rId96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49" Type="http://schemas.openxmlformats.org/officeDocument/2006/relationships/slideLayout" Target="../slideLayouts/slideLayout165.xml"/><Relationship Id="rId114" Type="http://schemas.openxmlformats.org/officeDocument/2006/relationships/slideLayout" Target="../slideLayouts/slideLayout230.xml"/><Relationship Id="rId119" Type="http://schemas.openxmlformats.org/officeDocument/2006/relationships/oleObject" Target="../embeddings/oleObject14.bin"/><Relationship Id="rId44" Type="http://schemas.openxmlformats.org/officeDocument/2006/relationships/slideLayout" Target="../slideLayouts/slideLayout160.xml"/><Relationship Id="rId60" Type="http://schemas.openxmlformats.org/officeDocument/2006/relationships/slideLayout" Target="../slideLayouts/slideLayout176.xml"/><Relationship Id="rId65" Type="http://schemas.openxmlformats.org/officeDocument/2006/relationships/slideLayout" Target="../slideLayouts/slideLayout181.xml"/><Relationship Id="rId81" Type="http://schemas.openxmlformats.org/officeDocument/2006/relationships/slideLayout" Target="../slideLayouts/slideLayout197.xml"/><Relationship Id="rId86" Type="http://schemas.openxmlformats.org/officeDocument/2006/relationships/slideLayout" Target="../slideLayouts/slideLayout202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39" Type="http://schemas.openxmlformats.org/officeDocument/2006/relationships/slideLayout" Target="../slideLayouts/slideLayout155.xml"/><Relationship Id="rId109" Type="http://schemas.openxmlformats.org/officeDocument/2006/relationships/slideLayout" Target="../slideLayouts/slideLayout225.xml"/><Relationship Id="rId34" Type="http://schemas.openxmlformats.org/officeDocument/2006/relationships/slideLayout" Target="../slideLayouts/slideLayout150.xml"/><Relationship Id="rId50" Type="http://schemas.openxmlformats.org/officeDocument/2006/relationships/slideLayout" Target="../slideLayouts/slideLayout166.xml"/><Relationship Id="rId55" Type="http://schemas.openxmlformats.org/officeDocument/2006/relationships/slideLayout" Target="../slideLayouts/slideLayout171.xml"/><Relationship Id="rId76" Type="http://schemas.openxmlformats.org/officeDocument/2006/relationships/slideLayout" Target="../slideLayouts/slideLayout192.xml"/><Relationship Id="rId97" Type="http://schemas.openxmlformats.org/officeDocument/2006/relationships/slideLayout" Target="../slideLayouts/slideLayout213.xml"/><Relationship Id="rId104" Type="http://schemas.openxmlformats.org/officeDocument/2006/relationships/slideLayout" Target="../slideLayouts/slideLayout220.xml"/><Relationship Id="rId120" Type="http://schemas.openxmlformats.org/officeDocument/2006/relationships/image" Target="../media/image1.emf"/><Relationship Id="rId7" Type="http://schemas.openxmlformats.org/officeDocument/2006/relationships/slideLayout" Target="../slideLayouts/slideLayout123.xml"/><Relationship Id="rId71" Type="http://schemas.openxmlformats.org/officeDocument/2006/relationships/slideLayout" Target="../slideLayouts/slideLayout187.xml"/><Relationship Id="rId92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118.xml"/><Relationship Id="rId29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40.xml"/><Relationship Id="rId40" Type="http://schemas.openxmlformats.org/officeDocument/2006/relationships/slideLayout" Target="../slideLayouts/slideLayout156.xml"/><Relationship Id="rId45" Type="http://schemas.openxmlformats.org/officeDocument/2006/relationships/slideLayout" Target="../slideLayouts/slideLayout161.xml"/><Relationship Id="rId66" Type="http://schemas.openxmlformats.org/officeDocument/2006/relationships/slideLayout" Target="../slideLayouts/slideLayout182.xml"/><Relationship Id="rId87" Type="http://schemas.openxmlformats.org/officeDocument/2006/relationships/slideLayout" Target="../slideLayouts/slideLayout203.xml"/><Relationship Id="rId110" Type="http://schemas.openxmlformats.org/officeDocument/2006/relationships/slideLayout" Target="../slideLayouts/slideLayout226.xml"/><Relationship Id="rId115" Type="http://schemas.openxmlformats.org/officeDocument/2006/relationships/slideLayout" Target="../slideLayouts/slideLayout231.xml"/><Relationship Id="rId61" Type="http://schemas.openxmlformats.org/officeDocument/2006/relationships/slideLayout" Target="../slideLayouts/slideLayout177.xml"/><Relationship Id="rId82" Type="http://schemas.openxmlformats.org/officeDocument/2006/relationships/slideLayout" Target="../slideLayouts/slideLayout198.xml"/><Relationship Id="rId19" Type="http://schemas.openxmlformats.org/officeDocument/2006/relationships/slideLayout" Target="../slideLayouts/slideLayout135.xml"/><Relationship Id="rId14" Type="http://schemas.openxmlformats.org/officeDocument/2006/relationships/slideLayout" Target="../slideLayouts/slideLayout130.xml"/><Relationship Id="rId30" Type="http://schemas.openxmlformats.org/officeDocument/2006/relationships/slideLayout" Target="../slideLayouts/slideLayout146.xml"/><Relationship Id="rId35" Type="http://schemas.openxmlformats.org/officeDocument/2006/relationships/slideLayout" Target="../slideLayouts/slideLayout151.xml"/><Relationship Id="rId56" Type="http://schemas.openxmlformats.org/officeDocument/2006/relationships/slideLayout" Target="../slideLayouts/slideLayout172.xml"/><Relationship Id="rId77" Type="http://schemas.openxmlformats.org/officeDocument/2006/relationships/slideLayout" Target="../slideLayouts/slideLayout193.xml"/><Relationship Id="rId100" Type="http://schemas.openxmlformats.org/officeDocument/2006/relationships/slideLayout" Target="../slideLayouts/slideLayout216.xml"/><Relationship Id="rId105" Type="http://schemas.openxmlformats.org/officeDocument/2006/relationships/slideLayout" Target="../slideLayouts/slideLayout221.xml"/><Relationship Id="rId8" Type="http://schemas.openxmlformats.org/officeDocument/2006/relationships/slideLayout" Target="../slideLayouts/slideLayout124.xml"/><Relationship Id="rId51" Type="http://schemas.openxmlformats.org/officeDocument/2006/relationships/slideLayout" Target="../slideLayouts/slideLayout167.xml"/><Relationship Id="rId72" Type="http://schemas.openxmlformats.org/officeDocument/2006/relationships/slideLayout" Target="../slideLayouts/slideLayout188.xml"/><Relationship Id="rId93" Type="http://schemas.openxmlformats.org/officeDocument/2006/relationships/slideLayout" Target="../slideLayouts/slideLayout209.xml"/><Relationship Id="rId98" Type="http://schemas.openxmlformats.org/officeDocument/2006/relationships/slideLayout" Target="../slideLayouts/slideLayout214.xml"/><Relationship Id="rId121" Type="http://schemas.openxmlformats.org/officeDocument/2006/relationships/image" Target="../media/image2.png"/><Relationship Id="rId3" Type="http://schemas.openxmlformats.org/officeDocument/2006/relationships/slideLayout" Target="../slideLayouts/slideLayout119.xml"/><Relationship Id="rId25" Type="http://schemas.openxmlformats.org/officeDocument/2006/relationships/slideLayout" Target="../slideLayouts/slideLayout141.xml"/><Relationship Id="rId46" Type="http://schemas.openxmlformats.org/officeDocument/2006/relationships/slideLayout" Target="../slideLayouts/slideLayout162.xml"/><Relationship Id="rId67" Type="http://schemas.openxmlformats.org/officeDocument/2006/relationships/slideLayout" Target="../slideLayouts/slideLayout183.xml"/><Relationship Id="rId11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136.xml"/><Relationship Id="rId41" Type="http://schemas.openxmlformats.org/officeDocument/2006/relationships/slideLayout" Target="../slideLayouts/slideLayout157.xml"/><Relationship Id="rId62" Type="http://schemas.openxmlformats.org/officeDocument/2006/relationships/slideLayout" Target="../slideLayouts/slideLayout178.xml"/><Relationship Id="rId83" Type="http://schemas.openxmlformats.org/officeDocument/2006/relationships/slideLayout" Target="../slideLayouts/slideLayout199.xml"/><Relationship Id="rId88" Type="http://schemas.openxmlformats.org/officeDocument/2006/relationships/slideLayout" Target="../slideLayouts/slideLayout204.xml"/><Relationship Id="rId111" Type="http://schemas.openxmlformats.org/officeDocument/2006/relationships/slideLayout" Target="../slideLayouts/slideLayout227.xml"/><Relationship Id="rId15" Type="http://schemas.openxmlformats.org/officeDocument/2006/relationships/slideLayout" Target="../slideLayouts/slideLayout131.xml"/><Relationship Id="rId36" Type="http://schemas.openxmlformats.org/officeDocument/2006/relationships/slideLayout" Target="../slideLayouts/slideLayout152.xml"/><Relationship Id="rId57" Type="http://schemas.openxmlformats.org/officeDocument/2006/relationships/slideLayout" Target="../slideLayouts/slideLayout173.xml"/><Relationship Id="rId106" Type="http://schemas.openxmlformats.org/officeDocument/2006/relationships/slideLayout" Target="../slideLayouts/slideLayout222.xml"/><Relationship Id="rId10" Type="http://schemas.openxmlformats.org/officeDocument/2006/relationships/slideLayout" Target="../slideLayouts/slideLayout126.xml"/><Relationship Id="rId31" Type="http://schemas.openxmlformats.org/officeDocument/2006/relationships/slideLayout" Target="../slideLayouts/slideLayout147.xml"/><Relationship Id="rId52" Type="http://schemas.openxmlformats.org/officeDocument/2006/relationships/slideLayout" Target="../slideLayouts/slideLayout168.xml"/><Relationship Id="rId73" Type="http://schemas.openxmlformats.org/officeDocument/2006/relationships/slideLayout" Target="../slideLayouts/slideLayout189.xml"/><Relationship Id="rId78" Type="http://schemas.openxmlformats.org/officeDocument/2006/relationships/slideLayout" Target="../slideLayouts/slideLayout194.xml"/><Relationship Id="rId94" Type="http://schemas.openxmlformats.org/officeDocument/2006/relationships/slideLayout" Target="../slideLayouts/slideLayout210.xml"/><Relationship Id="rId99" Type="http://schemas.openxmlformats.org/officeDocument/2006/relationships/slideLayout" Target="../slideLayouts/slideLayout215.xml"/><Relationship Id="rId101" Type="http://schemas.openxmlformats.org/officeDocument/2006/relationships/slideLayout" Target="../slideLayouts/slideLayout2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8"/>
            </p:custDataLst>
            <p:extLst>
              <p:ext uri="{D42A27DB-BD31-4B8C-83A1-F6EECF244321}">
                <p14:modId xmlns:p14="http://schemas.microsoft.com/office/powerpoint/2010/main" val="1624265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9" imgW="353" imgH="353" progId="TCLayout.ActiveDocument.1">
                  <p:embed/>
                </p:oleObj>
              </mc:Choice>
              <mc:Fallback>
                <p:oleObj name="think-cell Slide" r:id="rId119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2878763" y="6442008"/>
            <a:ext cx="374307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200" b="0" i="0">
              <a:solidFill>
                <a:schemeClr val="accent1">
                  <a:alpha val="50000"/>
                </a:schemeClr>
              </a:solidFill>
              <a:latin typeface="Roboto Condensed Light" charset="0"/>
              <a:ea typeface="Roboto Condensed Light" charset="0"/>
              <a:cs typeface="Roboto Condensed Light" charset="0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914400" y="1736726"/>
            <a:ext cx="10363200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Punkt niv 1 (str. 18)</a:t>
            </a:r>
          </a:p>
          <a:p>
            <a:pPr lvl="1"/>
            <a:r>
              <a:rPr lang="da-DK" noProof="0"/>
              <a:t>Punkt niv 2</a:t>
            </a:r>
          </a:p>
          <a:p>
            <a:pPr lvl="2"/>
            <a:r>
              <a:rPr lang="da-DK" noProof="0"/>
              <a:t>Punkt niv 3</a:t>
            </a:r>
          </a:p>
          <a:p>
            <a:pPr lvl="3"/>
            <a:r>
              <a:rPr lang="da-DK" noProof="0"/>
              <a:t>Punkt niv 4</a:t>
            </a:r>
          </a:p>
          <a:p>
            <a:pPr lvl="4"/>
            <a:r>
              <a:rPr lang="da-DK" noProof="0"/>
              <a:t>Punkt niv 5</a:t>
            </a:r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1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6" name="Rectangle 7"/>
          <p:cNvSpPr/>
          <p:nvPr/>
        </p:nvSpPr>
        <p:spPr>
          <a:xfrm>
            <a:off x="0" y="0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Pladsholder til slidenummer 3">
            <a:extLst>
              <a:ext uri="{FF2B5EF4-FFF2-40B4-BE49-F238E27FC236}">
                <a16:creationId xmlns:a16="http://schemas.microsoft.com/office/drawing/2014/main" id="{261F9F15-9FEF-B744-99C3-B8E898C689AE}"/>
              </a:ext>
            </a:extLst>
          </p:cNvPr>
          <p:cNvSpPr txBox="1">
            <a:spLocks/>
          </p:cNvSpPr>
          <p:nvPr userDrawn="1"/>
        </p:nvSpPr>
        <p:spPr>
          <a:xfrm>
            <a:off x="243426" y="6048260"/>
            <a:ext cx="670974" cy="685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rgbClr val="446B8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9299A6-A9F0-954F-A0FC-2793106C1BD3}" type="slidenum">
              <a:rPr lang="da-DK" sz="1000" smtClean="0"/>
              <a:pPr/>
              <a:t>‹nr.›</a:t>
            </a:fld>
            <a:endParaRPr lang="da-DK" sz="1000"/>
          </a:p>
        </p:txBody>
      </p:sp>
    </p:spTree>
    <p:extLst>
      <p:ext uri="{BB962C8B-B14F-4D97-AF65-F5344CB8AC3E}">
        <p14:creationId xmlns:p14="http://schemas.microsoft.com/office/powerpoint/2010/main" val="2059262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  <p:sldLayoutId id="2147483738" r:id="rId78"/>
    <p:sldLayoutId id="2147483739" r:id="rId79"/>
    <p:sldLayoutId id="2147483740" r:id="rId80"/>
    <p:sldLayoutId id="2147483741" r:id="rId81"/>
    <p:sldLayoutId id="2147483742" r:id="rId82"/>
    <p:sldLayoutId id="2147483743" r:id="rId83"/>
    <p:sldLayoutId id="2147483744" r:id="rId84"/>
    <p:sldLayoutId id="2147483745" r:id="rId85"/>
    <p:sldLayoutId id="2147483746" r:id="rId86"/>
    <p:sldLayoutId id="2147483747" r:id="rId87"/>
    <p:sldLayoutId id="2147483748" r:id="rId88"/>
    <p:sldLayoutId id="2147483749" r:id="rId89"/>
    <p:sldLayoutId id="2147483750" r:id="rId90"/>
    <p:sldLayoutId id="2147483751" r:id="rId91"/>
    <p:sldLayoutId id="2147483752" r:id="rId92"/>
    <p:sldLayoutId id="2147483753" r:id="rId93"/>
    <p:sldLayoutId id="2147483754" r:id="rId94"/>
    <p:sldLayoutId id="2147483755" r:id="rId95"/>
    <p:sldLayoutId id="2147483756" r:id="rId96"/>
    <p:sldLayoutId id="2147483757" r:id="rId97"/>
    <p:sldLayoutId id="2147483758" r:id="rId98"/>
    <p:sldLayoutId id="2147483759" r:id="rId99"/>
    <p:sldLayoutId id="2147483760" r:id="rId100"/>
    <p:sldLayoutId id="2147483761" r:id="rId101"/>
    <p:sldLayoutId id="2147483762" r:id="rId102"/>
    <p:sldLayoutId id="2147483763" r:id="rId103"/>
    <p:sldLayoutId id="2147483764" r:id="rId104"/>
    <p:sldLayoutId id="2147483765" r:id="rId105"/>
    <p:sldLayoutId id="2147483766" r:id="rId106"/>
    <p:sldLayoutId id="2147483767" r:id="rId107"/>
    <p:sldLayoutId id="2147483768" r:id="rId108"/>
    <p:sldLayoutId id="2147483769" r:id="rId109"/>
    <p:sldLayoutId id="2147483770" r:id="rId110"/>
    <p:sldLayoutId id="2147483771" r:id="rId111"/>
    <p:sldLayoutId id="2147483772" r:id="rId112"/>
    <p:sldLayoutId id="2147483773" r:id="rId113"/>
    <p:sldLayoutId id="2147483774" r:id="rId114"/>
    <p:sldLayoutId id="2147483775" r:id="rId115"/>
    <p:sldLayoutId id="2147483776" r:id="rId116"/>
  </p:sldLayoutIdLst>
  <p:hf hdr="0"/>
  <p:txStyles>
    <p:titleStyle>
      <a:lvl1pPr algn="ctr" defTabSz="914423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2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1pPr>
    </p:titleStyle>
    <p:bodyStyle>
      <a:lvl1pPr marL="342917" indent="-342917" algn="l" defTabSz="914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 baseline="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1pPr>
      <a:lvl2pPr marL="68581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 baseline="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2pPr>
      <a:lvl3pPr marL="114302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3pPr>
      <a:lvl4pPr marL="1600240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4pPr>
      <a:lvl5pPr marL="2057452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5pPr>
      <a:lvl6pPr marL="2514663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574">
          <p15:clr>
            <a:srgbClr val="F26B43"/>
          </p15:clr>
        </p15:guide>
        <p15:guide id="4" pos="7106">
          <p15:clr>
            <a:srgbClr val="F26B43"/>
          </p15:clr>
        </p15:guide>
        <p15:guide id="5" orient="horz" pos="3816">
          <p15:clr>
            <a:srgbClr val="F26B43"/>
          </p15:clr>
        </p15:guide>
        <p15:guide id="7" orient="horz" pos="109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8"/>
            </p:custDataLst>
            <p:extLst>
              <p:ext uri="{D42A27DB-BD31-4B8C-83A1-F6EECF244321}">
                <p14:modId xmlns:p14="http://schemas.microsoft.com/office/powerpoint/2010/main" val="4214849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9" imgW="353" imgH="353" progId="TCLayout.ActiveDocument.1">
                  <p:embed/>
                </p:oleObj>
              </mc:Choice>
              <mc:Fallback>
                <p:oleObj name="think-cell Slide" r:id="rId119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2878763" y="6442008"/>
            <a:ext cx="374307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200" b="0" i="0">
              <a:solidFill>
                <a:schemeClr val="accent1">
                  <a:alpha val="50000"/>
                </a:schemeClr>
              </a:solidFill>
              <a:latin typeface="Roboto Condensed Light" charset="0"/>
              <a:ea typeface="Roboto Condensed Light" charset="0"/>
              <a:cs typeface="Roboto Condensed Light" charset="0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914400" y="1736726"/>
            <a:ext cx="10363200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Punkt niv 1 (str. 18)</a:t>
            </a:r>
          </a:p>
          <a:p>
            <a:pPr lvl="1"/>
            <a:r>
              <a:rPr lang="da-DK" noProof="0"/>
              <a:t>Punkt niv 2</a:t>
            </a:r>
          </a:p>
          <a:p>
            <a:pPr lvl="2"/>
            <a:r>
              <a:rPr lang="da-DK" noProof="0"/>
              <a:t>Punkt niv 3</a:t>
            </a:r>
          </a:p>
          <a:p>
            <a:pPr lvl="3"/>
            <a:r>
              <a:rPr lang="da-DK" noProof="0"/>
              <a:t>Punkt niv 4</a:t>
            </a:r>
          </a:p>
          <a:p>
            <a:pPr lvl="4"/>
            <a:r>
              <a:rPr lang="da-DK" noProof="0"/>
              <a:t>Punkt niv 5</a:t>
            </a:r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1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6" name="Rectangle 7"/>
          <p:cNvSpPr/>
          <p:nvPr/>
        </p:nvSpPr>
        <p:spPr>
          <a:xfrm>
            <a:off x="0" y="0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Pladsholder til slidenummer 3">
            <a:extLst>
              <a:ext uri="{FF2B5EF4-FFF2-40B4-BE49-F238E27FC236}">
                <a16:creationId xmlns:a16="http://schemas.microsoft.com/office/drawing/2014/main" id="{261F9F15-9FEF-B744-99C3-B8E898C689AE}"/>
              </a:ext>
            </a:extLst>
          </p:cNvPr>
          <p:cNvSpPr txBox="1">
            <a:spLocks/>
          </p:cNvSpPr>
          <p:nvPr userDrawn="1"/>
        </p:nvSpPr>
        <p:spPr>
          <a:xfrm>
            <a:off x="243426" y="6048260"/>
            <a:ext cx="670974" cy="685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rgbClr val="446B8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9299A6-A9F0-954F-A0FC-2793106C1BD3}" type="slidenum">
              <a:rPr lang="da-DK" sz="1000" smtClean="0"/>
              <a:pPr/>
              <a:t>‹nr.›</a:t>
            </a:fld>
            <a:endParaRPr lang="da-DK" sz="1000"/>
          </a:p>
        </p:txBody>
      </p:sp>
    </p:spTree>
    <p:extLst>
      <p:ext uri="{BB962C8B-B14F-4D97-AF65-F5344CB8AC3E}">
        <p14:creationId xmlns:p14="http://schemas.microsoft.com/office/powerpoint/2010/main" val="4178125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4" r:id="rId27"/>
    <p:sldLayoutId id="2147483805" r:id="rId28"/>
    <p:sldLayoutId id="2147483806" r:id="rId29"/>
    <p:sldLayoutId id="2147483807" r:id="rId30"/>
    <p:sldLayoutId id="2147483808" r:id="rId31"/>
    <p:sldLayoutId id="2147483809" r:id="rId32"/>
    <p:sldLayoutId id="2147483810" r:id="rId33"/>
    <p:sldLayoutId id="2147483811" r:id="rId34"/>
    <p:sldLayoutId id="2147483812" r:id="rId35"/>
    <p:sldLayoutId id="2147483813" r:id="rId36"/>
    <p:sldLayoutId id="2147483814" r:id="rId37"/>
    <p:sldLayoutId id="2147483815" r:id="rId38"/>
    <p:sldLayoutId id="2147483816" r:id="rId39"/>
    <p:sldLayoutId id="2147483817" r:id="rId40"/>
    <p:sldLayoutId id="2147483818" r:id="rId41"/>
    <p:sldLayoutId id="2147483819" r:id="rId42"/>
    <p:sldLayoutId id="2147483820" r:id="rId43"/>
    <p:sldLayoutId id="2147483821" r:id="rId44"/>
    <p:sldLayoutId id="2147483822" r:id="rId45"/>
    <p:sldLayoutId id="2147483823" r:id="rId46"/>
    <p:sldLayoutId id="2147483824" r:id="rId47"/>
    <p:sldLayoutId id="2147483825" r:id="rId48"/>
    <p:sldLayoutId id="2147483826" r:id="rId49"/>
    <p:sldLayoutId id="2147483827" r:id="rId50"/>
    <p:sldLayoutId id="2147483828" r:id="rId51"/>
    <p:sldLayoutId id="2147483829" r:id="rId52"/>
    <p:sldLayoutId id="2147483830" r:id="rId53"/>
    <p:sldLayoutId id="2147483831" r:id="rId54"/>
    <p:sldLayoutId id="2147483832" r:id="rId55"/>
    <p:sldLayoutId id="2147483833" r:id="rId56"/>
    <p:sldLayoutId id="2147483834" r:id="rId57"/>
    <p:sldLayoutId id="2147483835" r:id="rId58"/>
    <p:sldLayoutId id="2147483836" r:id="rId59"/>
    <p:sldLayoutId id="2147483837" r:id="rId60"/>
    <p:sldLayoutId id="2147483838" r:id="rId61"/>
    <p:sldLayoutId id="2147483839" r:id="rId62"/>
    <p:sldLayoutId id="2147483840" r:id="rId63"/>
    <p:sldLayoutId id="2147483841" r:id="rId64"/>
    <p:sldLayoutId id="2147483842" r:id="rId65"/>
    <p:sldLayoutId id="2147483843" r:id="rId66"/>
    <p:sldLayoutId id="2147483844" r:id="rId67"/>
    <p:sldLayoutId id="2147483845" r:id="rId68"/>
    <p:sldLayoutId id="2147483846" r:id="rId69"/>
    <p:sldLayoutId id="2147483847" r:id="rId70"/>
    <p:sldLayoutId id="2147483848" r:id="rId71"/>
    <p:sldLayoutId id="2147483849" r:id="rId72"/>
    <p:sldLayoutId id="2147483850" r:id="rId73"/>
    <p:sldLayoutId id="2147483851" r:id="rId74"/>
    <p:sldLayoutId id="2147483852" r:id="rId75"/>
    <p:sldLayoutId id="2147483853" r:id="rId76"/>
    <p:sldLayoutId id="2147483854" r:id="rId77"/>
    <p:sldLayoutId id="2147483855" r:id="rId78"/>
    <p:sldLayoutId id="2147483856" r:id="rId79"/>
    <p:sldLayoutId id="2147483857" r:id="rId80"/>
    <p:sldLayoutId id="2147483858" r:id="rId81"/>
    <p:sldLayoutId id="2147483859" r:id="rId82"/>
    <p:sldLayoutId id="2147483860" r:id="rId83"/>
    <p:sldLayoutId id="2147483861" r:id="rId84"/>
    <p:sldLayoutId id="2147483862" r:id="rId85"/>
    <p:sldLayoutId id="2147483863" r:id="rId86"/>
    <p:sldLayoutId id="2147483864" r:id="rId87"/>
    <p:sldLayoutId id="2147483865" r:id="rId88"/>
    <p:sldLayoutId id="2147483866" r:id="rId89"/>
    <p:sldLayoutId id="2147483867" r:id="rId90"/>
    <p:sldLayoutId id="2147483868" r:id="rId91"/>
    <p:sldLayoutId id="2147483869" r:id="rId92"/>
    <p:sldLayoutId id="2147483870" r:id="rId93"/>
    <p:sldLayoutId id="2147483871" r:id="rId94"/>
    <p:sldLayoutId id="2147483872" r:id="rId95"/>
    <p:sldLayoutId id="2147483873" r:id="rId96"/>
    <p:sldLayoutId id="2147483874" r:id="rId97"/>
    <p:sldLayoutId id="2147483875" r:id="rId98"/>
    <p:sldLayoutId id="2147483876" r:id="rId99"/>
    <p:sldLayoutId id="2147483877" r:id="rId100"/>
    <p:sldLayoutId id="2147483878" r:id="rId101"/>
    <p:sldLayoutId id="2147483879" r:id="rId102"/>
    <p:sldLayoutId id="2147483880" r:id="rId103"/>
    <p:sldLayoutId id="2147483881" r:id="rId104"/>
    <p:sldLayoutId id="2147483882" r:id="rId105"/>
    <p:sldLayoutId id="2147483883" r:id="rId106"/>
    <p:sldLayoutId id="2147483884" r:id="rId107"/>
    <p:sldLayoutId id="2147483885" r:id="rId108"/>
    <p:sldLayoutId id="2147483886" r:id="rId109"/>
    <p:sldLayoutId id="2147483887" r:id="rId110"/>
    <p:sldLayoutId id="2147483888" r:id="rId111"/>
    <p:sldLayoutId id="2147483889" r:id="rId112"/>
    <p:sldLayoutId id="2147483890" r:id="rId113"/>
    <p:sldLayoutId id="2147483891" r:id="rId114"/>
    <p:sldLayoutId id="2147483892" r:id="rId115"/>
    <p:sldLayoutId id="2147483893" r:id="rId116"/>
  </p:sldLayoutIdLst>
  <p:hf hdr="0"/>
  <p:txStyles>
    <p:titleStyle>
      <a:lvl1pPr algn="ctr" defTabSz="914423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2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1pPr>
    </p:titleStyle>
    <p:bodyStyle>
      <a:lvl1pPr marL="342917" indent="-342917" algn="l" defTabSz="914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 baseline="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1pPr>
      <a:lvl2pPr marL="68581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 baseline="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2pPr>
      <a:lvl3pPr marL="114302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3pPr>
      <a:lvl4pPr marL="1600240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4pPr>
      <a:lvl5pPr marL="2057452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5pPr>
      <a:lvl6pPr marL="2514663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574">
          <p15:clr>
            <a:srgbClr val="F26B43"/>
          </p15:clr>
        </p15:guide>
        <p15:guide id="4" pos="7106">
          <p15:clr>
            <a:srgbClr val="F26B43"/>
          </p15:clr>
        </p15:guide>
        <p15:guide id="5" orient="horz" pos="3816">
          <p15:clr>
            <a:srgbClr val="F26B43"/>
          </p15:clr>
        </p15:guide>
        <p15:guide id="7" orient="horz" pos="10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9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Relationship Id="rId6" Type="http://schemas.openxmlformats.org/officeDocument/2006/relationships/image" Target="../media/image45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9176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7">
            <a:extLst>
              <a:ext uri="{FF2B5EF4-FFF2-40B4-BE49-F238E27FC236}">
                <a16:creationId xmlns:a16="http://schemas.microsoft.com/office/drawing/2014/main" id="{BE918D2E-40DE-3BB0-1D54-F7243D6AAD7A}"/>
              </a:ext>
            </a:extLst>
          </p:cNvPr>
          <p:cNvSpPr/>
          <p:nvPr/>
        </p:nvSpPr>
        <p:spPr>
          <a:xfrm>
            <a:off x="1538163" y="1746936"/>
            <a:ext cx="9278093" cy="3595690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500" dirty="0">
              <a:solidFill>
                <a:srgbClr val="002060"/>
              </a:solidFill>
            </a:endParaRPr>
          </a:p>
          <a:p>
            <a:r>
              <a:rPr lang="en-GB" sz="1500" dirty="0">
                <a:solidFill>
                  <a:srgbClr val="002060"/>
                </a:solidFill>
              </a:rPr>
              <a:t>  </a:t>
            </a:r>
          </a:p>
          <a:p>
            <a:endParaRPr lang="en-GB" sz="1500" dirty="0">
              <a:solidFill>
                <a:srgbClr val="002060"/>
              </a:solidFill>
            </a:endParaRPr>
          </a:p>
          <a:p>
            <a:endParaRPr lang="en-GB" sz="1500" dirty="0">
              <a:solidFill>
                <a:srgbClr val="002060"/>
              </a:solidFill>
            </a:endParaRPr>
          </a:p>
          <a:p>
            <a:pPr defTabSz="1371600">
              <a:defRPr/>
            </a:pPr>
            <a:endParaRPr lang="da-DK" sz="2700" i="1" dirty="0">
              <a:solidFill>
                <a:srgbClr val="FFC000"/>
              </a:solidFill>
              <a:latin typeface="Arial"/>
            </a:endParaRPr>
          </a:p>
        </p:txBody>
      </p:sp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oliga Marketingpakker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sp>
        <p:nvSpPr>
          <p:cNvPr id="11" name="Rektangel 60">
            <a:extLst>
              <a:ext uri="{FF2B5EF4-FFF2-40B4-BE49-F238E27FC236}">
                <a16:creationId xmlns:a16="http://schemas.microsoft.com/office/drawing/2014/main" id="{2F753E69-DDEA-73FE-D61E-E47A384306C8}"/>
              </a:ext>
            </a:extLst>
          </p:cNvPr>
          <p:cNvSpPr/>
          <p:nvPr/>
        </p:nvSpPr>
        <p:spPr>
          <a:xfrm>
            <a:off x="1548522" y="1631092"/>
            <a:ext cx="2338207" cy="17258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ktangel 54">
            <a:extLst>
              <a:ext uri="{FF2B5EF4-FFF2-40B4-BE49-F238E27FC236}">
                <a16:creationId xmlns:a16="http://schemas.microsoft.com/office/drawing/2014/main" id="{2FB112CA-BB29-316C-D620-FB594234CADB}"/>
              </a:ext>
            </a:extLst>
          </p:cNvPr>
          <p:cNvSpPr/>
          <p:nvPr/>
        </p:nvSpPr>
        <p:spPr>
          <a:xfrm>
            <a:off x="1526754" y="1738314"/>
            <a:ext cx="2376296" cy="3595686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Me Katalo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2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Katalog med 11 boliger ad gangen – automatisk opdatering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Vises på Facebook og Instagram 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liga data </a:t>
            </a: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kombineret med FB+IG data 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da-DK" sz="11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liga</a:t>
            </a: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-afsender giver høje klikrate 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4" name="Rektangel 60">
            <a:extLst>
              <a:ext uri="{FF2B5EF4-FFF2-40B4-BE49-F238E27FC236}">
                <a16:creationId xmlns:a16="http://schemas.microsoft.com/office/drawing/2014/main" id="{2987C690-FE32-1911-FBC1-D684EE040B6C}"/>
              </a:ext>
            </a:extLst>
          </p:cNvPr>
          <p:cNvSpPr/>
          <p:nvPr/>
        </p:nvSpPr>
        <p:spPr>
          <a:xfrm>
            <a:off x="5010195" y="1631092"/>
            <a:ext cx="2368072" cy="20141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ktangel 54">
            <a:extLst>
              <a:ext uri="{FF2B5EF4-FFF2-40B4-BE49-F238E27FC236}">
                <a16:creationId xmlns:a16="http://schemas.microsoft.com/office/drawing/2014/main" id="{D2B38973-4303-9B19-70B5-D6EBC78DCB09}"/>
              </a:ext>
            </a:extLst>
          </p:cNvPr>
          <p:cNvSpPr/>
          <p:nvPr/>
        </p:nvSpPr>
        <p:spPr>
          <a:xfrm>
            <a:off x="4999565" y="1767144"/>
            <a:ext cx="2376296" cy="3566856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B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Op til 3 x flere visninger 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Bedre placeringer end øvrige boliger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Fremhævet tekst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Fremhævet grafisk annonce </a:t>
            </a:r>
            <a:r>
              <a:rPr lang="da-DK" sz="1100" dirty="0">
                <a:solidFill>
                  <a:schemeClr val="tx1"/>
                </a:solidFill>
                <a:latin typeface="Arial"/>
              </a:rPr>
              <a:t>  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ktangel 60">
            <a:extLst>
              <a:ext uri="{FF2B5EF4-FFF2-40B4-BE49-F238E27FC236}">
                <a16:creationId xmlns:a16="http://schemas.microsoft.com/office/drawing/2014/main" id="{282D86DE-C64C-9228-EB0A-5A5E30039772}"/>
              </a:ext>
            </a:extLst>
          </p:cNvPr>
          <p:cNvSpPr/>
          <p:nvPr/>
        </p:nvSpPr>
        <p:spPr>
          <a:xfrm>
            <a:off x="8465753" y="1618736"/>
            <a:ext cx="2359129" cy="20141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ktangel 54">
            <a:extLst>
              <a:ext uri="{FF2B5EF4-FFF2-40B4-BE49-F238E27FC236}">
                <a16:creationId xmlns:a16="http://schemas.microsoft.com/office/drawing/2014/main" id="{DA5134B1-8E54-CA25-9E10-E2BAF886930D}"/>
              </a:ext>
            </a:extLst>
          </p:cNvPr>
          <p:cNvSpPr/>
          <p:nvPr/>
        </p:nvSpPr>
        <p:spPr>
          <a:xfrm>
            <a:off x="8452548" y="1754787"/>
            <a:ext cx="2376296" cy="3595686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liga Fro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4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2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Bolig på forsiden af boliga.dk </a:t>
            </a:r>
            <a:br>
              <a:rPr lang="da-DK" sz="12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2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2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Fremhævet grafisk annonc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2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2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Forskellige fremhævninger efter boligstatus (”Nyhed”, ”Prisfald” etc.)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60">
            <a:extLst>
              <a:ext uri="{FF2B5EF4-FFF2-40B4-BE49-F238E27FC236}">
                <a16:creationId xmlns:a16="http://schemas.microsoft.com/office/drawing/2014/main" id="{D1110A42-011D-1062-76B8-44730AEE52D3}"/>
              </a:ext>
            </a:extLst>
          </p:cNvPr>
          <p:cNvSpPr/>
          <p:nvPr/>
        </p:nvSpPr>
        <p:spPr>
          <a:xfrm>
            <a:off x="5690280" y="1382163"/>
            <a:ext cx="1683461" cy="35615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UN MED BOLIGA </a:t>
            </a:r>
            <a:endParaRPr kumimoji="0" lang="da-DK" sz="110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60">
            <a:extLst>
              <a:ext uri="{FF2B5EF4-FFF2-40B4-BE49-F238E27FC236}">
                <a16:creationId xmlns:a16="http://schemas.microsoft.com/office/drawing/2014/main" id="{709DB893-4912-F158-2212-480B85E2F6D9}"/>
              </a:ext>
            </a:extLst>
          </p:cNvPr>
          <p:cNvSpPr/>
          <p:nvPr/>
        </p:nvSpPr>
        <p:spPr>
          <a:xfrm>
            <a:off x="9146391" y="1393049"/>
            <a:ext cx="1683461" cy="35615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ÅLRETTET KØBERE</a:t>
            </a:r>
            <a:endParaRPr kumimoji="0" lang="da-DK" sz="110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54">
            <a:extLst>
              <a:ext uri="{FF2B5EF4-FFF2-40B4-BE49-F238E27FC236}">
                <a16:creationId xmlns:a16="http://schemas.microsoft.com/office/drawing/2014/main" id="{1A856678-2A7C-C6B4-F770-4D2C8FE2B6EF}"/>
              </a:ext>
            </a:extLst>
          </p:cNvPr>
          <p:cNvSpPr/>
          <p:nvPr/>
        </p:nvSpPr>
        <p:spPr>
          <a:xfrm>
            <a:off x="1548522" y="5724750"/>
            <a:ext cx="2376296" cy="940935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4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Kan udvides med katalog efter boligtype og pris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4" name="Ellipse 4">
            <a:extLst>
              <a:ext uri="{FF2B5EF4-FFF2-40B4-BE49-F238E27FC236}">
                <a16:creationId xmlns:a16="http://schemas.microsoft.com/office/drawing/2014/main" id="{97C4DB62-5188-DF13-916B-0EE62813D603}"/>
              </a:ext>
            </a:extLst>
          </p:cNvPr>
          <p:cNvSpPr/>
          <p:nvPr/>
        </p:nvSpPr>
        <p:spPr>
          <a:xfrm>
            <a:off x="2441798" y="5428884"/>
            <a:ext cx="324000" cy="324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ktangel 60">
            <a:extLst>
              <a:ext uri="{FF2B5EF4-FFF2-40B4-BE49-F238E27FC236}">
                <a16:creationId xmlns:a16="http://schemas.microsoft.com/office/drawing/2014/main" id="{676BA5FF-2888-048A-0A9D-7263F2AAC2B9}"/>
              </a:ext>
            </a:extLst>
          </p:cNvPr>
          <p:cNvSpPr/>
          <p:nvPr/>
        </p:nvSpPr>
        <p:spPr>
          <a:xfrm>
            <a:off x="2216506" y="1382159"/>
            <a:ext cx="1683461" cy="35615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ØJE KLIKRATER</a:t>
            </a:r>
            <a:endParaRPr kumimoji="0" lang="da-DK" sz="140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94003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2854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oMe katalog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pic>
        <p:nvPicPr>
          <p:cNvPr id="3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FFC8C600-3961-0BBE-1120-017ACCFE347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1978" y="1243009"/>
            <a:ext cx="3083017" cy="4360266"/>
          </a:xfrm>
          <a:prstGeom prst="rect">
            <a:avLst/>
          </a:prstGeom>
        </p:spPr>
      </p:pic>
      <p:sp>
        <p:nvSpPr>
          <p:cNvPr id="2" name="Rektangel 54">
            <a:extLst>
              <a:ext uri="{FF2B5EF4-FFF2-40B4-BE49-F238E27FC236}">
                <a16:creationId xmlns:a16="http://schemas.microsoft.com/office/drawing/2014/main" id="{96BB5FC6-90FC-871A-AE79-BE12A978C867}"/>
              </a:ext>
            </a:extLst>
          </p:cNvPr>
          <p:cNvSpPr/>
          <p:nvPr/>
        </p:nvSpPr>
        <p:spPr>
          <a:xfrm>
            <a:off x="4223661" y="5521616"/>
            <a:ext cx="2862943" cy="74551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SoMe formater 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99E3A72C-E0D6-AB73-9233-DA37A3D33C46}"/>
              </a:ext>
            </a:extLst>
          </p:cNvPr>
          <p:cNvSpPr/>
          <p:nvPr/>
        </p:nvSpPr>
        <p:spPr>
          <a:xfrm>
            <a:off x="4256315" y="1240968"/>
            <a:ext cx="2830285" cy="5033483"/>
          </a:xfrm>
          <a:prstGeom prst="rect">
            <a:avLst/>
          </a:prstGeom>
          <a:noFill/>
          <a:ln w="3175">
            <a:solidFill>
              <a:schemeClr val="accent6"/>
            </a:solidFill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285738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8407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BA kategori- og </a:t>
            </a:r>
            <a:r>
              <a:rPr lang="da-DK" sz="2800" dirty="0" err="1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istevisnng</a:t>
            </a:r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sp>
        <p:nvSpPr>
          <p:cNvPr id="29" name="Rektangel 54">
            <a:extLst>
              <a:ext uri="{FF2B5EF4-FFF2-40B4-BE49-F238E27FC236}">
                <a16:creationId xmlns:a16="http://schemas.microsoft.com/office/drawing/2014/main" id="{6B5BC89A-0491-A8DA-85D2-648AB908D2B2}"/>
              </a:ext>
            </a:extLst>
          </p:cNvPr>
          <p:cNvSpPr/>
          <p:nvPr/>
        </p:nvSpPr>
        <p:spPr>
          <a:xfrm>
            <a:off x="1009291" y="5793759"/>
            <a:ext cx="4071466" cy="74551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Kategoriside   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2" name="Picture 3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87F512E-1427-F80F-3F92-8B80730C38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521" y="1257046"/>
            <a:ext cx="5756715" cy="4421476"/>
          </a:xfrm>
          <a:prstGeom prst="rect">
            <a:avLst/>
          </a:prstGeom>
        </p:spPr>
      </p:pic>
      <p:pic>
        <p:nvPicPr>
          <p:cNvPr id="40" name="Picture 39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623195FC-10F9-ED01-8693-D93F0B10B0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91581" y="1560495"/>
            <a:ext cx="5510592" cy="4232441"/>
          </a:xfrm>
          <a:prstGeom prst="rect">
            <a:avLst/>
          </a:prstGeom>
        </p:spPr>
      </p:pic>
      <p:sp>
        <p:nvSpPr>
          <p:cNvPr id="33" name="Rektangel 54">
            <a:extLst>
              <a:ext uri="{FF2B5EF4-FFF2-40B4-BE49-F238E27FC236}">
                <a16:creationId xmlns:a16="http://schemas.microsoft.com/office/drawing/2014/main" id="{0C82FD7B-386E-B5E1-ABC8-C05053E96B28}"/>
              </a:ext>
            </a:extLst>
          </p:cNvPr>
          <p:cNvSpPr/>
          <p:nvPr/>
        </p:nvSpPr>
        <p:spPr>
          <a:xfrm>
            <a:off x="6544903" y="5790883"/>
            <a:ext cx="4071466" cy="74551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Listevisning 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E092B864-8805-F6E2-5622-8DCB96D27121}"/>
              </a:ext>
            </a:extLst>
          </p:cNvPr>
          <p:cNvSpPr/>
          <p:nvPr/>
        </p:nvSpPr>
        <p:spPr>
          <a:xfrm>
            <a:off x="1049312" y="1502228"/>
            <a:ext cx="4032354" cy="5033483"/>
          </a:xfrm>
          <a:prstGeom prst="rect">
            <a:avLst/>
          </a:prstGeom>
          <a:noFill/>
          <a:ln w="3175">
            <a:solidFill>
              <a:schemeClr val="accent6"/>
            </a:solidFill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4297C826-93C2-9270-CDAC-A8C78B9CD4ED}"/>
              </a:ext>
            </a:extLst>
          </p:cNvPr>
          <p:cNvSpPr/>
          <p:nvPr/>
        </p:nvSpPr>
        <p:spPr>
          <a:xfrm>
            <a:off x="6553200" y="1523996"/>
            <a:ext cx="4069292" cy="5033483"/>
          </a:xfrm>
          <a:prstGeom prst="rect">
            <a:avLst/>
          </a:prstGeom>
          <a:noFill/>
          <a:ln w="3175">
            <a:solidFill>
              <a:schemeClr val="accent6"/>
            </a:solidFill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409775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959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BA boligvisningside 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pic>
        <p:nvPicPr>
          <p:cNvPr id="24" name="Picture 23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3D4FF13B-3476-6226-229F-4A43D2858D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718" y="1673849"/>
            <a:ext cx="6236379" cy="3313076"/>
          </a:xfrm>
          <a:prstGeom prst="rect">
            <a:avLst/>
          </a:prstGeom>
        </p:spPr>
      </p:pic>
      <p:pic>
        <p:nvPicPr>
          <p:cNvPr id="2" name="Picture 1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569232D9-28CD-DE73-7932-748B2CED708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04074" y="1676813"/>
            <a:ext cx="6493181" cy="3449502"/>
          </a:xfrm>
          <a:prstGeom prst="rect">
            <a:avLst/>
          </a:prstGeom>
        </p:spPr>
      </p:pic>
      <p:sp>
        <p:nvSpPr>
          <p:cNvPr id="3" name="Rektangel 54">
            <a:extLst>
              <a:ext uri="{FF2B5EF4-FFF2-40B4-BE49-F238E27FC236}">
                <a16:creationId xmlns:a16="http://schemas.microsoft.com/office/drawing/2014/main" id="{998BF579-8DD6-B855-A065-EE21799179EF}"/>
              </a:ext>
            </a:extLst>
          </p:cNvPr>
          <p:cNvSpPr/>
          <p:nvPr/>
        </p:nvSpPr>
        <p:spPr>
          <a:xfrm>
            <a:off x="-89647" y="4768897"/>
            <a:ext cx="12308541" cy="74551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emhævede med forskellige budskaber  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B</a:t>
            </a:r>
            <a:r>
              <a:rPr kumimoji="0" lang="da-DK" sz="11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ligvisningsside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6162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4448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 descr="Et billede, der indeholder tekst, træ, skærmbillede&#10;&#10;Automatisk genereret beskrivelse">
            <a:extLst>
              <a:ext uri="{FF2B5EF4-FFF2-40B4-BE49-F238E27FC236}">
                <a16:creationId xmlns:a16="http://schemas.microsoft.com/office/drawing/2014/main" id="{011F8E6A-D642-FBB3-7F99-37F0BF88B6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29364" y="1110343"/>
            <a:ext cx="6728836" cy="4351434"/>
          </a:xfrm>
          <a:prstGeom prst="rect">
            <a:avLst/>
          </a:prstGeom>
        </p:spPr>
      </p:pic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oliga forside   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pic>
        <p:nvPicPr>
          <p:cNvPr id="3" name="Billede 2">
            <a:extLst>
              <a:ext uri="{FF2B5EF4-FFF2-40B4-BE49-F238E27FC236}">
                <a16:creationId xmlns:a16="http://schemas.microsoft.com/office/drawing/2014/main" id="{D73798B9-B710-C1D0-C09B-A0400ACE5D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30831" y="4122960"/>
            <a:ext cx="6738255" cy="1681663"/>
          </a:xfrm>
          <a:prstGeom prst="rect">
            <a:avLst/>
          </a:prstGeom>
        </p:spPr>
      </p:pic>
      <p:sp>
        <p:nvSpPr>
          <p:cNvPr id="11" name="Rektangel 54">
            <a:extLst>
              <a:ext uri="{FF2B5EF4-FFF2-40B4-BE49-F238E27FC236}">
                <a16:creationId xmlns:a16="http://schemas.microsoft.com/office/drawing/2014/main" id="{8343C707-003F-E1B9-B4EE-763D1E80499C}"/>
              </a:ext>
            </a:extLst>
          </p:cNvPr>
          <p:cNvSpPr/>
          <p:nvPr/>
        </p:nvSpPr>
        <p:spPr>
          <a:xfrm>
            <a:off x="1709057" y="6008598"/>
            <a:ext cx="6751941" cy="74551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Rotationsbanner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1B797791-5288-FAB0-ACC1-421ED63EC9AA}"/>
              </a:ext>
            </a:extLst>
          </p:cNvPr>
          <p:cNvSpPr/>
          <p:nvPr/>
        </p:nvSpPr>
        <p:spPr>
          <a:xfrm>
            <a:off x="1719943" y="1121228"/>
            <a:ext cx="6738259" cy="5638800"/>
          </a:xfrm>
          <a:prstGeom prst="rect">
            <a:avLst/>
          </a:prstGeom>
          <a:noFill/>
          <a:ln w="3175">
            <a:solidFill>
              <a:schemeClr val="accent6"/>
            </a:solidFill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91459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KwxRjJEPmnY_WbU42F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KwxRjJEPmnY_WbU42F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DC 1">
  <a:themeElements>
    <a:clrScheme name="EDC">
      <a:dk1>
        <a:srgbClr val="0D2E4D"/>
      </a:dk1>
      <a:lt1>
        <a:srgbClr val="FFFFFF"/>
      </a:lt1>
      <a:dk2>
        <a:srgbClr val="164573"/>
      </a:dk2>
      <a:lt2>
        <a:srgbClr val="F3F7F7"/>
      </a:lt2>
      <a:accent1>
        <a:srgbClr val="164573"/>
      </a:accent1>
      <a:accent2>
        <a:srgbClr val="5E7C9A"/>
      </a:accent2>
      <a:accent3>
        <a:srgbClr val="93B0CD"/>
      </a:accent3>
      <a:accent4>
        <a:srgbClr val="D2DFE0"/>
      </a:accent4>
      <a:accent5>
        <a:srgbClr val="555555"/>
      </a:accent5>
      <a:accent6>
        <a:srgbClr val="878787"/>
      </a:accent6>
      <a:hlink>
        <a:srgbClr val="4DC3D3"/>
      </a:hlink>
      <a:folHlink>
        <a:srgbClr val="93B0CD"/>
      </a:folHlink>
    </a:clrScheme>
    <a:fontScheme name="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5875">
          <a:noFill/>
        </a:ln>
        <a:effectLst>
          <a:outerShdw blurRad="127000" dist="50800" dir="5400000" algn="ctr" rotWithShape="0">
            <a:srgbClr val="000000">
              <a:alpha val="20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mpd="sng">
          <a:solidFill>
            <a:schemeClr val="accent4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807F8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DC_Præsentation_v1.5" id="{DBD6848D-CC29-0D4E-8486-33412CA37388}" vid="{CE9E7E15-7F81-2149-BC75-97478FEAFE29}"/>
    </a:ext>
  </a:extLst>
</a:theme>
</file>

<file path=ppt/theme/theme2.xml><?xml version="1.0" encoding="utf-8"?>
<a:theme xmlns:a="http://schemas.openxmlformats.org/drawingml/2006/main" name="1_EDC 1">
  <a:themeElements>
    <a:clrScheme name="EDC">
      <a:dk1>
        <a:srgbClr val="0D2E4D"/>
      </a:dk1>
      <a:lt1>
        <a:srgbClr val="FFFFFF"/>
      </a:lt1>
      <a:dk2>
        <a:srgbClr val="164573"/>
      </a:dk2>
      <a:lt2>
        <a:srgbClr val="F3F7F7"/>
      </a:lt2>
      <a:accent1>
        <a:srgbClr val="164573"/>
      </a:accent1>
      <a:accent2>
        <a:srgbClr val="5E7C9A"/>
      </a:accent2>
      <a:accent3>
        <a:srgbClr val="93B0CD"/>
      </a:accent3>
      <a:accent4>
        <a:srgbClr val="D2DFE0"/>
      </a:accent4>
      <a:accent5>
        <a:srgbClr val="555555"/>
      </a:accent5>
      <a:accent6>
        <a:srgbClr val="878787"/>
      </a:accent6>
      <a:hlink>
        <a:srgbClr val="4DC3D3"/>
      </a:hlink>
      <a:folHlink>
        <a:srgbClr val="93B0CD"/>
      </a:folHlink>
    </a:clrScheme>
    <a:fontScheme name="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5875">
          <a:noFill/>
        </a:ln>
        <a:effectLst>
          <a:outerShdw blurRad="127000" dist="50800" dir="5400000" algn="ctr" rotWithShape="0">
            <a:srgbClr val="000000">
              <a:alpha val="20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mpd="sng">
          <a:solidFill>
            <a:schemeClr val="accent4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807F8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DC_Præsentation_v1.5" id="{DBD6848D-CC29-0D4E-8486-33412CA37388}" vid="{CE9E7E15-7F81-2149-BC75-97478FEAFE2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4</TotalTime>
  <Words>122</Words>
  <Application>Microsoft Macintosh PowerPoint</Application>
  <PresentationFormat>Widescreen</PresentationFormat>
  <Paragraphs>49</Paragraphs>
  <Slides>5</Slides>
  <Notes>5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6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5</vt:i4>
      </vt:variant>
    </vt:vector>
  </HeadingPairs>
  <TitlesOfParts>
    <vt:vector size="14" baseType="lpstr">
      <vt:lpstr>Arial</vt:lpstr>
      <vt:lpstr>Calibri</vt:lpstr>
      <vt:lpstr>Lato</vt:lpstr>
      <vt:lpstr>Manus</vt:lpstr>
      <vt:lpstr>Roboto Condensed Light</vt:lpstr>
      <vt:lpstr>Wingdings</vt:lpstr>
      <vt:lpstr>EDC 1</vt:lpstr>
      <vt:lpstr>1_EDC 1</vt:lpstr>
      <vt:lpstr>think-cell Slide</vt:lpstr>
      <vt:lpstr>Boliga Marketingpakker </vt:lpstr>
      <vt:lpstr>SoMe katalog </vt:lpstr>
      <vt:lpstr>DBA kategori- og listevisnng  </vt:lpstr>
      <vt:lpstr>DBA boligvisningside  </vt:lpstr>
      <vt:lpstr>Boliga forside 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Sønderstrup</dc:creator>
  <cp:lastModifiedBy>Christina Eiby Jensen</cp:lastModifiedBy>
  <cp:revision>13</cp:revision>
  <cp:lastPrinted>2023-03-21T06:56:24Z</cp:lastPrinted>
  <dcterms:created xsi:type="dcterms:W3CDTF">2023-03-15T14:08:35Z</dcterms:created>
  <dcterms:modified xsi:type="dcterms:W3CDTF">2023-03-21T13:41:55Z</dcterms:modified>
</cp:coreProperties>
</file>